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media/image1.bin" ContentType="image/x-emf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40" r:id="rId1"/>
  </p:sldMasterIdLst>
  <p:notesMasterIdLst>
    <p:notesMasterId r:id="rId3"/>
  </p:notesMasterIdLst>
  <p:handoutMasterIdLst>
    <p:handoutMasterId r:id="rId4"/>
  </p:handoutMasterIdLst>
  <p:sldIdLst>
    <p:sldId id="283" r:id="rId2"/>
  </p:sldIdLst>
  <p:sldSz cx="12192000" cy="6858000"/>
  <p:notesSz cx="6797675" cy="9926638"/>
  <p:custDataLst>
    <p:tags r:id="rId5"/>
  </p:custDataLst>
  <p:defaultTextStyle>
    <a:defPPr>
      <a:defRPr lang="de-DE"/>
    </a:defPPr>
    <a:lvl1pPr algn="l" rtl="0" eaLnBrk="0" fontAlgn="base" hangingPunct="0">
      <a:spcBef>
        <a:spcPct val="0"/>
      </a:spcBef>
      <a:spcAft>
        <a:spcPct val="0"/>
      </a:spcAft>
      <a:defRPr sz="20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20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6pPr>
    <a:lvl7pPr marL="2743200" algn="l" defTabSz="914400" rtl="0" eaLnBrk="1" latinLnBrk="0" hangingPunct="1">
      <a:defRPr sz="20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7pPr>
    <a:lvl8pPr marL="3200400" algn="l" defTabSz="914400" rtl="0" eaLnBrk="1" latinLnBrk="0" hangingPunct="1">
      <a:defRPr sz="20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8pPr>
    <a:lvl9pPr marL="3657600" algn="l" defTabSz="914400" rtl="0" eaLnBrk="1" latinLnBrk="0" hangingPunct="1">
      <a:defRPr sz="2000" b="1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EE6EE"/>
    <a:srgbClr val="F2F4B2"/>
    <a:srgbClr val="F9F7AF"/>
    <a:srgbClr val="40B3AE"/>
    <a:srgbClr val="B9EDE8"/>
    <a:srgbClr val="A9CD49"/>
    <a:srgbClr val="F5AB74"/>
    <a:srgbClr val="E8F8A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168ACEF-CED8-4FEA-9F5B-AE21B9050818}" v="61" dt="2024-10-18T07:43:07.29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454" autoAdjust="0"/>
    <p:restoredTop sz="94635" autoAdjust="0"/>
  </p:normalViewPr>
  <p:slideViewPr>
    <p:cSldViewPr>
      <p:cViewPr varScale="1">
        <p:scale>
          <a:sx n="82" d="100"/>
          <a:sy n="82" d="100"/>
        </p:scale>
        <p:origin x="926" y="77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3084"/>
    </p:cViewPr>
  </p:sorterViewPr>
  <p:notesViewPr>
    <p:cSldViewPr>
      <p:cViewPr>
        <p:scale>
          <a:sx n="75" d="100"/>
          <a:sy n="75" d="100"/>
        </p:scale>
        <p:origin x="-2082" y="-28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tags" Target="tags/tag1.xml"/><Relationship Id="rId10" Type="http://schemas.microsoft.com/office/2016/11/relationships/changesInfo" Target="changesInfos/changesInfo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Belli, Rosalba" userId="a628b5ab-3fb6-4c3e-9332-89efc470c95b" providerId="ADAL" clId="{2168ACEF-CED8-4FEA-9F5B-AE21B9050818}"/>
    <pc:docChg chg="custSel addSld delSld modSld sldOrd delMainMaster modMainMaster modNotesMaster">
      <pc:chgData name="Belli, Rosalba" userId="a628b5ab-3fb6-4c3e-9332-89efc470c95b" providerId="ADAL" clId="{2168ACEF-CED8-4FEA-9F5B-AE21B9050818}" dt="2024-10-18T07:44:52.770" v="183" actId="1076"/>
      <pc:docMkLst>
        <pc:docMk/>
      </pc:docMkLst>
      <pc:sldChg chg="addSp modSp del mod modNotes">
        <pc:chgData name="Belli, Rosalba" userId="a628b5ab-3fb6-4c3e-9332-89efc470c95b" providerId="ADAL" clId="{2168ACEF-CED8-4FEA-9F5B-AE21B9050818}" dt="2024-10-18T07:42:49.641" v="107" actId="2696"/>
        <pc:sldMkLst>
          <pc:docMk/>
          <pc:sldMk cId="0" sldId="281"/>
        </pc:sldMkLst>
        <pc:spChg chg="add mod">
          <ac:chgData name="Belli, Rosalba" userId="a628b5ab-3fb6-4c3e-9332-89efc470c95b" providerId="ADAL" clId="{2168ACEF-CED8-4FEA-9F5B-AE21B9050818}" dt="2024-10-18T07:42:45.323" v="47"/>
          <ac:spMkLst>
            <pc:docMk/>
            <pc:sldMk cId="0" sldId="281"/>
            <ac:spMk id="2" creationId="{AD67D381-3A74-2D5F-A579-75A13BB10D30}"/>
          </ac:spMkLst>
        </pc:spChg>
        <pc:spChg chg="add mod">
          <ac:chgData name="Belli, Rosalba" userId="a628b5ab-3fb6-4c3e-9332-89efc470c95b" providerId="ADAL" clId="{2168ACEF-CED8-4FEA-9F5B-AE21B9050818}" dt="2024-10-18T07:42:45.323" v="47"/>
          <ac:spMkLst>
            <pc:docMk/>
            <pc:sldMk cId="0" sldId="281"/>
            <ac:spMk id="3" creationId="{F62C5FCA-0341-DEAA-D466-08C7389870D3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k cId="0" sldId="281"/>
            <ac:spMk id="15363" creationId="{97F4AD0A-F110-BBAA-85EC-AE2D89A48089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k cId="0" sldId="281"/>
            <ac:spMk id="15364" creationId="{36512A5F-4E0D-E6CE-ED9D-A6543133873C}"/>
          </ac:spMkLst>
        </pc:spChg>
        <pc:graphicFrameChg chg="mod">
          <ac:chgData name="Belli, Rosalba" userId="a628b5ab-3fb6-4c3e-9332-89efc470c95b" providerId="ADAL" clId="{2168ACEF-CED8-4FEA-9F5B-AE21B9050818}" dt="2024-10-18T07:42:45.323" v="47"/>
          <ac:graphicFrameMkLst>
            <pc:docMk/>
            <pc:sldMk cId="0" sldId="281"/>
            <ac:graphicFrameMk id="15366" creationId="{965B126B-3FAE-ACA6-2BE0-D0CC78219CD7}"/>
          </ac:graphicFrameMkLst>
        </pc:graphicFrameChg>
        <pc:picChg chg="mod">
          <ac:chgData name="Belli, Rosalba" userId="a628b5ab-3fb6-4c3e-9332-89efc470c95b" providerId="ADAL" clId="{2168ACEF-CED8-4FEA-9F5B-AE21B9050818}" dt="2024-10-18T07:42:45.323" v="47"/>
          <ac:picMkLst>
            <pc:docMk/>
            <pc:sldMk cId="0" sldId="281"/>
            <ac:picMk id="15365" creationId="{3B75E338-A7BC-D204-06CB-A9405C054D32}"/>
          </ac:picMkLst>
        </pc:picChg>
      </pc:sldChg>
      <pc:sldChg chg="add del">
        <pc:chgData name="Belli, Rosalba" userId="a628b5ab-3fb6-4c3e-9332-89efc470c95b" providerId="ADAL" clId="{2168ACEF-CED8-4FEA-9F5B-AE21B9050818}" dt="2024-10-18T07:42:50.467" v="176" actId="2696"/>
        <pc:sldMkLst>
          <pc:docMk/>
          <pc:sldMk cId="3435101550" sldId="282"/>
        </pc:sldMkLst>
      </pc:sldChg>
      <pc:sldChg chg="modSp add mod ord">
        <pc:chgData name="Belli, Rosalba" userId="a628b5ab-3fb6-4c3e-9332-89efc470c95b" providerId="ADAL" clId="{2168ACEF-CED8-4FEA-9F5B-AE21B9050818}" dt="2024-10-18T07:44:52.770" v="183" actId="1076"/>
        <pc:sldMkLst>
          <pc:docMk/>
          <pc:sldMk cId="0" sldId="283"/>
        </pc:sldMkLst>
        <pc:spChg chg="mod">
          <ac:chgData name="Belli, Rosalba" userId="a628b5ab-3fb6-4c3e-9332-89efc470c95b" providerId="ADAL" clId="{2168ACEF-CED8-4FEA-9F5B-AE21B9050818}" dt="2024-10-18T07:44:52.770" v="183" actId="1076"/>
          <ac:spMkLst>
            <pc:docMk/>
            <pc:sldMk cId="0" sldId="283"/>
            <ac:spMk id="2" creationId="{AD67D381-3A74-2D5F-A579-75A13BB10D30}"/>
          </ac:spMkLst>
        </pc:spChg>
        <pc:spChg chg="mod">
          <ac:chgData name="Belli, Rosalba" userId="a628b5ab-3fb6-4c3e-9332-89efc470c95b" providerId="ADAL" clId="{2168ACEF-CED8-4FEA-9F5B-AE21B9050818}" dt="2024-10-18T07:44:37.462" v="182" actId="1076"/>
          <ac:spMkLst>
            <pc:docMk/>
            <pc:sldMk cId="0" sldId="283"/>
            <ac:spMk id="3" creationId="{F62C5FCA-0341-DEAA-D466-08C7389870D3}"/>
          </ac:spMkLst>
        </pc:spChg>
        <pc:spChg chg="mod">
          <ac:chgData name="Belli, Rosalba" userId="a628b5ab-3fb6-4c3e-9332-89efc470c95b" providerId="ADAL" clId="{2168ACEF-CED8-4FEA-9F5B-AE21B9050818}" dt="2024-10-18T07:42:50.438" v="175" actId="948"/>
          <ac:spMkLst>
            <pc:docMk/>
            <pc:sldMk cId="0" sldId="283"/>
            <ac:spMk id="15363" creationId="{97F4AD0A-F110-BBAA-85EC-AE2D89A48089}"/>
          </ac:spMkLst>
        </pc:spChg>
        <pc:graphicFrameChg chg="mod">
          <ac:chgData name="Belli, Rosalba" userId="a628b5ab-3fb6-4c3e-9332-89efc470c95b" providerId="ADAL" clId="{2168ACEF-CED8-4FEA-9F5B-AE21B9050818}" dt="2024-10-18T07:42:49.131" v="106"/>
          <ac:graphicFrameMkLst>
            <pc:docMk/>
            <pc:sldMk cId="0" sldId="283"/>
            <ac:graphicFrameMk id="15366" creationId="{965B126B-3FAE-ACA6-2BE0-D0CC78219CD7}"/>
          </ac:graphicFrameMkLst>
        </pc:graphicFrameChg>
        <pc:picChg chg="mod">
          <ac:chgData name="Belli, Rosalba" userId="a628b5ab-3fb6-4c3e-9332-89efc470c95b" providerId="ADAL" clId="{2168ACEF-CED8-4FEA-9F5B-AE21B9050818}" dt="2024-10-18T07:42:49.120" v="95"/>
          <ac:picMkLst>
            <pc:docMk/>
            <pc:sldMk cId="0" sldId="283"/>
            <ac:picMk id="15365" creationId="{3B75E338-A7BC-D204-06CB-A9405C054D32}"/>
          </ac:picMkLst>
        </pc:picChg>
      </pc:sldChg>
      <pc:sldChg chg="add del">
        <pc:chgData name="Belli, Rosalba" userId="a628b5ab-3fb6-4c3e-9332-89efc470c95b" providerId="ADAL" clId="{2168ACEF-CED8-4FEA-9F5B-AE21B9050818}" dt="2024-10-18T07:42:49.701" v="116" actId="2696"/>
        <pc:sldMkLst>
          <pc:docMk/>
          <pc:sldMk cId="315754450" sldId="284"/>
        </pc:sldMkLst>
      </pc:sldChg>
      <pc:sldChg chg="add del">
        <pc:chgData name="Belli, Rosalba" userId="a628b5ab-3fb6-4c3e-9332-89efc470c95b" providerId="ADAL" clId="{2168ACEF-CED8-4FEA-9F5B-AE21B9050818}" dt="2024-10-18T07:42:49.750" v="128" actId="2696"/>
        <pc:sldMkLst>
          <pc:docMk/>
          <pc:sldMk cId="423545951" sldId="284"/>
        </pc:sldMkLst>
      </pc:sldChg>
      <pc:sldChg chg="add del">
        <pc:chgData name="Belli, Rosalba" userId="a628b5ab-3fb6-4c3e-9332-89efc470c95b" providerId="ADAL" clId="{2168ACEF-CED8-4FEA-9F5B-AE21B9050818}" dt="2024-10-18T07:42:49.742" v="126" actId="2696"/>
        <pc:sldMkLst>
          <pc:docMk/>
          <pc:sldMk cId="857406858" sldId="284"/>
        </pc:sldMkLst>
      </pc:sldChg>
      <pc:sldChg chg="add del">
        <pc:chgData name="Belli, Rosalba" userId="a628b5ab-3fb6-4c3e-9332-89efc470c95b" providerId="ADAL" clId="{2168ACEF-CED8-4FEA-9F5B-AE21B9050818}" dt="2024-10-18T07:42:49.673" v="110" actId="2696"/>
        <pc:sldMkLst>
          <pc:docMk/>
          <pc:sldMk cId="1734754088" sldId="284"/>
        </pc:sldMkLst>
      </pc:sldChg>
      <pc:sldChg chg="add del">
        <pc:chgData name="Belli, Rosalba" userId="a628b5ab-3fb6-4c3e-9332-89efc470c95b" providerId="ADAL" clId="{2168ACEF-CED8-4FEA-9F5B-AE21B9050818}" dt="2024-10-18T07:42:49.724" v="122" actId="2696"/>
        <pc:sldMkLst>
          <pc:docMk/>
          <pc:sldMk cId="2019036006" sldId="284"/>
        </pc:sldMkLst>
      </pc:sldChg>
      <pc:sldChg chg="add del">
        <pc:chgData name="Belli, Rosalba" userId="a628b5ab-3fb6-4c3e-9332-89efc470c95b" providerId="ADAL" clId="{2168ACEF-CED8-4FEA-9F5B-AE21B9050818}" dt="2024-10-18T07:42:49.715" v="120" actId="2696"/>
        <pc:sldMkLst>
          <pc:docMk/>
          <pc:sldMk cId="2704315630" sldId="284"/>
        </pc:sldMkLst>
      </pc:sldChg>
      <pc:sldChg chg="add del">
        <pc:chgData name="Belli, Rosalba" userId="a628b5ab-3fb6-4c3e-9332-89efc470c95b" providerId="ADAL" clId="{2168ACEF-CED8-4FEA-9F5B-AE21B9050818}" dt="2024-10-18T07:42:49.758" v="130" actId="2696"/>
        <pc:sldMkLst>
          <pc:docMk/>
          <pc:sldMk cId="2817110549" sldId="284"/>
        </pc:sldMkLst>
      </pc:sldChg>
      <pc:sldChg chg="add del">
        <pc:chgData name="Belli, Rosalba" userId="a628b5ab-3fb6-4c3e-9332-89efc470c95b" providerId="ADAL" clId="{2168ACEF-CED8-4FEA-9F5B-AE21B9050818}" dt="2024-10-18T07:42:49.683" v="112" actId="2696"/>
        <pc:sldMkLst>
          <pc:docMk/>
          <pc:sldMk cId="3754629583" sldId="284"/>
        </pc:sldMkLst>
      </pc:sldChg>
      <pc:sldChg chg="add del">
        <pc:chgData name="Belli, Rosalba" userId="a628b5ab-3fb6-4c3e-9332-89efc470c95b" providerId="ADAL" clId="{2168ACEF-CED8-4FEA-9F5B-AE21B9050818}" dt="2024-10-18T07:42:49.692" v="114" actId="2696"/>
        <pc:sldMkLst>
          <pc:docMk/>
          <pc:sldMk cId="3821276308" sldId="284"/>
        </pc:sldMkLst>
      </pc:sldChg>
      <pc:sldChg chg="add del">
        <pc:chgData name="Belli, Rosalba" userId="a628b5ab-3fb6-4c3e-9332-89efc470c95b" providerId="ADAL" clId="{2168ACEF-CED8-4FEA-9F5B-AE21B9050818}" dt="2024-10-18T07:42:49.707" v="118" actId="2696"/>
        <pc:sldMkLst>
          <pc:docMk/>
          <pc:sldMk cId="4023883393" sldId="284"/>
        </pc:sldMkLst>
      </pc:sldChg>
      <pc:sldChg chg="add del">
        <pc:chgData name="Belli, Rosalba" userId="a628b5ab-3fb6-4c3e-9332-89efc470c95b" providerId="ADAL" clId="{2168ACEF-CED8-4FEA-9F5B-AE21B9050818}" dt="2024-10-18T07:42:49.733" v="124" actId="2696"/>
        <pc:sldMkLst>
          <pc:docMk/>
          <pc:sldMk cId="4185763155" sldId="284"/>
        </pc:sldMkLst>
      </pc:sldChg>
      <pc:sldMasterChg chg="modSp del modSldLayout">
        <pc:chgData name="Belli, Rosalba" userId="a628b5ab-3fb6-4c3e-9332-89efc470c95b" providerId="ADAL" clId="{2168ACEF-CED8-4FEA-9F5B-AE21B9050818}" dt="2024-10-18T07:42:49.653" v="108" actId="2696"/>
        <pc:sldMasterMkLst>
          <pc:docMk/>
          <pc:sldMasterMk cId="0" sldId="2147483648"/>
        </pc:sldMasterMkLst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48"/>
            <ac:spMk id="2" creationId="{43D9EF88-CEE4-3B9D-7311-2CDA5C9724B5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48"/>
            <ac:spMk id="1027" creationId="{9E57D703-9C91-1C33-B433-44D49B9D04E8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48"/>
            <ac:spMk id="1028" creationId="{BC7452E6-8C08-774D-2A8F-E0BC3E7D7D6C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48"/>
            <ac:spMk id="1029" creationId="{5CD7A11C-8315-6698-2D02-63F883DE24D3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48"/>
            <ac:spMk id="1030" creationId="{A037A510-9F4C-71D5-ABF5-C5203A0025A1}"/>
          </ac:spMkLst>
        </pc:spChg>
        <pc:picChg chg="mod">
          <ac:chgData name="Belli, Rosalba" userId="a628b5ab-3fb6-4c3e-9332-89efc470c95b" providerId="ADAL" clId="{2168ACEF-CED8-4FEA-9F5B-AE21B9050818}" dt="2024-10-18T07:42:45.323" v="47"/>
          <ac:picMkLst>
            <pc:docMk/>
            <pc:sldMasterMk cId="0" sldId="2147483648"/>
            <ac:picMk id="1026" creationId="{CA1507DB-9E68-4309-8AE4-16963E5CDCD2}"/>
          </ac:picMkLst>
        </pc:pic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48"/>
            <pc:sldLayoutMk cId="2461331281" sldId="2147484173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2461331281" sldId="2147484173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2461331281" sldId="2147484173"/>
              <ac:spMk id="3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48"/>
            <pc:sldLayoutMk cId="2721418070" sldId="2147484174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2721418070" sldId="2147484174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2721418070" sldId="2147484174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48"/>
            <pc:sldLayoutMk cId="1446032868" sldId="2147484175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1446032868" sldId="2147484175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1446032868" sldId="2147484175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1446032868" sldId="2147484175"/>
              <ac:spMk id="4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1446032868" sldId="2147484175"/>
              <ac:spMk id="5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1446032868" sldId="2147484175"/>
              <ac:spMk id="6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48"/>
            <pc:sldLayoutMk cId="3527069793" sldId="2147484178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3527069793" sldId="2147484178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3527069793" sldId="2147484178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3527069793" sldId="2147484178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48"/>
            <pc:sldLayoutMk cId="247300800" sldId="2147484179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247300800" sldId="2147484179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247300800" sldId="2147484179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247300800" sldId="2147484179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48"/>
            <pc:sldLayoutMk cId="47121033" sldId="2147484181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47121033" sldId="2147484181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47121033" sldId="2147484181"/>
              <ac:spMk id="3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48"/>
            <pc:sldLayoutMk cId="3336472696" sldId="2147484182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3336472696" sldId="2147484182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3336472696" sldId="2147484182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3336472696" sldId="2147484182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48"/>
            <pc:sldLayoutMk cId="4263560453" sldId="2147484183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4263560453" sldId="2147484183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4263560453" sldId="2147484183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4263560453" sldId="2147484183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48"/>
            <pc:sldLayoutMk cId="178845658" sldId="2147484234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178845658" sldId="2147484234"/>
              <ac:spMk id="3" creationId="{ADFC8379-F76C-B628-363F-B5477B67955F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178845658" sldId="2147484234"/>
              <ac:spMk id="512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48"/>
              <pc:sldLayoutMk cId="178845658" sldId="2147484234"/>
              <ac:spMk id="5124" creationId="{00000000-0000-0000-0000-000000000000}"/>
            </ac:spMkLst>
          </pc:spChg>
          <pc:picChg chg="mod">
            <ac:chgData name="Belli, Rosalba" userId="a628b5ab-3fb6-4c3e-9332-89efc470c95b" providerId="ADAL" clId="{2168ACEF-CED8-4FEA-9F5B-AE21B9050818}" dt="2024-10-18T07:42:45.323" v="47"/>
            <ac:picMkLst>
              <pc:docMk/>
              <pc:sldMasterMk cId="0" sldId="2147483648"/>
              <pc:sldLayoutMk cId="178845658" sldId="2147484234"/>
              <ac:picMk id="2" creationId="{1C193AB5-B605-7BAA-F3A3-DB09EAEB2304}"/>
            </ac:picMkLst>
          </pc:picChg>
        </pc:sldLayoutChg>
      </pc:sldMasterChg>
      <pc:sldMasterChg chg="modSp del modSldLayout">
        <pc:chgData name="Belli, Rosalba" userId="a628b5ab-3fb6-4c3e-9332-89efc470c95b" providerId="ADAL" clId="{2168ACEF-CED8-4FEA-9F5B-AE21B9050818}" dt="2024-10-18T07:42:49.768" v="131" actId="2696"/>
        <pc:sldMasterMkLst>
          <pc:docMk/>
          <pc:sldMasterMk cId="0" sldId="2147483650"/>
        </pc:sldMasterMkLst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0"/>
            <ac:spMk id="2050" creationId="{346D7294-D347-4B4F-E845-F03834CCB3B0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0"/>
            <ac:spMk id="2051" creationId="{05796BDB-2ED6-C03F-640F-7887AFFECFBD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0"/>
            <ac:spMk id="2052" creationId="{C9139797-2741-1701-BA30-F55430CFDBA5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0"/>
            <ac:spMk id="60421" creationId="{575B125B-8D06-4059-49BB-A6F82FFF465C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0"/>
            <ac:spMk id="60422" creationId="{E8DC469D-DEC9-E175-A263-197101C10C57}"/>
          </ac:spMkLst>
        </pc:spChg>
        <pc:picChg chg="mod">
          <ac:chgData name="Belli, Rosalba" userId="a628b5ab-3fb6-4c3e-9332-89efc470c95b" providerId="ADAL" clId="{2168ACEF-CED8-4FEA-9F5B-AE21B9050818}" dt="2024-10-18T07:42:45.323" v="47"/>
          <ac:picMkLst>
            <pc:docMk/>
            <pc:sldMasterMk cId="0" sldId="2147483650"/>
            <ac:picMk id="2055" creationId="{F77DBF90-CDCA-4D77-2D71-10C4D8F2FECA}"/>
          </ac:picMkLst>
        </pc:pic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0"/>
            <pc:sldLayoutMk cId="537593904" sldId="2147484185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537593904" sldId="2147484185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537593904" sldId="2147484185"/>
              <ac:spMk id="3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0"/>
            <pc:sldLayoutMk cId="3073581184" sldId="2147484186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3073581184" sldId="2147484186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3073581184" sldId="2147484186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0"/>
            <pc:sldLayoutMk cId="1355437504" sldId="2147484187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1355437504" sldId="2147484187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1355437504" sldId="2147484187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1355437504" sldId="2147484187"/>
              <ac:spMk id="4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1355437504" sldId="2147484187"/>
              <ac:spMk id="5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1355437504" sldId="2147484187"/>
              <ac:spMk id="6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0"/>
            <pc:sldLayoutMk cId="3355581013" sldId="2147484190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3355581013" sldId="2147484190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3355581013" sldId="2147484190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3355581013" sldId="2147484190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0"/>
            <pc:sldLayoutMk cId="386069043" sldId="2147484191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386069043" sldId="2147484191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386069043" sldId="2147484191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386069043" sldId="2147484191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0"/>
            <pc:sldLayoutMk cId="2383865945" sldId="2147484193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2383865945" sldId="2147484193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2383865945" sldId="2147484193"/>
              <ac:spMk id="3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0"/>
            <pc:sldLayoutMk cId="1255118713" sldId="2147484235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1255118713" sldId="2147484235"/>
              <ac:spMk id="2" creationId="{099F6CD3-5C6A-0A30-66A4-FBB5E4CBFA8F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1255118713" sldId="2147484235"/>
              <ac:spMk id="3" creationId="{E340DCBD-3BFF-4001-716C-617866BC47E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1255118713" sldId="2147484235"/>
              <ac:spMk id="6144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0"/>
              <pc:sldLayoutMk cId="1255118713" sldId="2147484235"/>
              <ac:spMk id="61444" creationId="{00000000-0000-0000-0000-000000000000}"/>
            </ac:spMkLst>
          </pc:spChg>
          <pc:picChg chg="mod">
            <ac:chgData name="Belli, Rosalba" userId="a628b5ab-3fb6-4c3e-9332-89efc470c95b" providerId="ADAL" clId="{2168ACEF-CED8-4FEA-9F5B-AE21B9050818}" dt="2024-10-18T07:42:45.323" v="47"/>
            <ac:picMkLst>
              <pc:docMk/>
              <pc:sldMasterMk cId="0" sldId="2147483650"/>
              <pc:sldLayoutMk cId="1255118713" sldId="2147484235"/>
              <ac:picMk id="4" creationId="{47A54EDA-A3E8-8282-8029-CC2B5E56F8FD}"/>
            </ac:picMkLst>
          </pc:picChg>
        </pc:sldLayoutChg>
      </pc:sldMasterChg>
      <pc:sldMasterChg chg="modSp del modSldLayout">
        <pc:chgData name="Belli, Rosalba" userId="a628b5ab-3fb6-4c3e-9332-89efc470c95b" providerId="ADAL" clId="{2168ACEF-CED8-4FEA-9F5B-AE21B9050818}" dt="2024-10-18T07:42:49.777" v="132" actId="2696"/>
        <pc:sldMasterMkLst>
          <pc:docMk/>
          <pc:sldMasterMk cId="0" sldId="2147483652"/>
        </pc:sldMasterMkLst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2"/>
            <ac:spMk id="3074" creationId="{EB3AE24F-F4C3-321A-CFED-EF11699E24E1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2"/>
            <ac:spMk id="3075" creationId="{74EC6872-2D14-8573-00D3-1449F50BAE0C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2"/>
            <ac:spMk id="3076" creationId="{89896F07-E0DB-2C89-0C3C-5E65799FA23B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2"/>
            <ac:spMk id="64517" creationId="{04FE3835-0AA9-AFB0-EBEF-38AAA3084E0A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2"/>
            <ac:spMk id="64518" creationId="{D60FE9E6-B277-BA40-B3AC-947AADA71EFE}"/>
          </ac:spMkLst>
        </pc:spChg>
        <pc:picChg chg="mod">
          <ac:chgData name="Belli, Rosalba" userId="a628b5ab-3fb6-4c3e-9332-89efc470c95b" providerId="ADAL" clId="{2168ACEF-CED8-4FEA-9F5B-AE21B9050818}" dt="2024-10-18T07:42:45.323" v="47"/>
          <ac:picMkLst>
            <pc:docMk/>
            <pc:sldMasterMk cId="0" sldId="2147483652"/>
            <ac:picMk id="3079" creationId="{0FCFD274-D1CC-3372-CDBF-F9D99A23E62B}"/>
          </ac:picMkLst>
        </pc:pic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2"/>
            <pc:sldLayoutMk cId="279110433" sldId="2147484195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279110433" sldId="2147484195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279110433" sldId="2147484195"/>
              <ac:spMk id="3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2"/>
            <pc:sldLayoutMk cId="758126927" sldId="2147484196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758126927" sldId="2147484196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758126927" sldId="2147484196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2"/>
            <pc:sldLayoutMk cId="601646776" sldId="2147484197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601646776" sldId="2147484197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601646776" sldId="2147484197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601646776" sldId="2147484197"/>
              <ac:spMk id="4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601646776" sldId="2147484197"/>
              <ac:spMk id="5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601646776" sldId="2147484197"/>
              <ac:spMk id="6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2"/>
            <pc:sldLayoutMk cId="2221255389" sldId="2147484200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2221255389" sldId="2147484200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2221255389" sldId="2147484200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2221255389" sldId="2147484200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2"/>
            <pc:sldLayoutMk cId="3119781481" sldId="2147484201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3119781481" sldId="2147484201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3119781481" sldId="2147484201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3119781481" sldId="2147484201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2"/>
            <pc:sldLayoutMk cId="4060626490" sldId="2147484203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4060626490" sldId="2147484203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4060626490" sldId="2147484203"/>
              <ac:spMk id="3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2"/>
            <pc:sldLayoutMk cId="3488868833" sldId="2147484236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3488868833" sldId="2147484236"/>
              <ac:spMk id="2" creationId="{EC2C013B-92BF-9502-6B70-8CED5F6C1B49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3488868833" sldId="2147484236"/>
              <ac:spMk id="65546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2"/>
              <pc:sldLayoutMk cId="3488868833" sldId="2147484236"/>
              <ac:spMk id="65548" creationId="{00000000-0000-0000-0000-000000000000}"/>
            </ac:spMkLst>
          </pc:spChg>
        </pc:sldLayoutChg>
      </pc:sldMasterChg>
      <pc:sldMasterChg chg="modSp del modSldLayout">
        <pc:chgData name="Belli, Rosalba" userId="a628b5ab-3fb6-4c3e-9332-89efc470c95b" providerId="ADAL" clId="{2168ACEF-CED8-4FEA-9F5B-AE21B9050818}" dt="2024-10-18T07:42:49.794" v="134" actId="2696"/>
        <pc:sldMasterMkLst>
          <pc:docMk/>
          <pc:sldMasterMk cId="0" sldId="2147483654"/>
        </pc:sldMasterMkLst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4"/>
            <ac:spMk id="5122" creationId="{078FBED7-4D48-C913-804E-1BCFD9D695C1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4"/>
            <ac:spMk id="5123" creationId="{F4F70C72-7135-F79B-DF5F-4D91F5015024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4"/>
            <ac:spMk id="5124" creationId="{53581085-04AA-93CE-EC45-397EB9061413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4"/>
            <ac:spMk id="68613" creationId="{B4421980-3BBE-BD9F-58FC-1E3D41030923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4"/>
            <ac:spMk id="68614" creationId="{EEA9BC0C-9E99-4166-F9A3-32BE30170C33}"/>
          </ac:spMkLst>
        </pc:spChg>
        <pc:picChg chg="mod">
          <ac:chgData name="Belli, Rosalba" userId="a628b5ab-3fb6-4c3e-9332-89efc470c95b" providerId="ADAL" clId="{2168ACEF-CED8-4FEA-9F5B-AE21B9050818}" dt="2024-10-18T07:42:45.323" v="47"/>
          <ac:picMkLst>
            <pc:docMk/>
            <pc:sldMasterMk cId="0" sldId="2147483654"/>
            <ac:picMk id="5127" creationId="{FDEEF114-9B0C-9038-AD64-33E2AD205C24}"/>
          </ac:picMkLst>
        </pc:pic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4"/>
            <pc:sldLayoutMk cId="3362785329" sldId="2147484215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3362785329" sldId="2147484215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3362785329" sldId="2147484215"/>
              <ac:spMk id="3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4"/>
            <pc:sldLayoutMk cId="4230685048" sldId="2147484216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4230685048" sldId="2147484216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4230685048" sldId="2147484216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4"/>
            <pc:sldLayoutMk cId="1583920943" sldId="2147484217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1583920943" sldId="2147484217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1583920943" sldId="2147484217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1583920943" sldId="2147484217"/>
              <ac:spMk id="4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1583920943" sldId="2147484217"/>
              <ac:spMk id="5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1583920943" sldId="2147484217"/>
              <ac:spMk id="6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4"/>
            <pc:sldLayoutMk cId="2673574071" sldId="2147484220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2673574071" sldId="2147484220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2673574071" sldId="2147484220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2673574071" sldId="2147484220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4"/>
            <pc:sldLayoutMk cId="744977306" sldId="2147484221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744977306" sldId="2147484221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744977306" sldId="2147484221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744977306" sldId="2147484221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4"/>
            <pc:sldLayoutMk cId="3981510553" sldId="2147484223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3981510553" sldId="2147484223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3981510553" sldId="2147484223"/>
              <ac:spMk id="3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4"/>
            <pc:sldLayoutMk cId="2345599542" sldId="2147484238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2345599542" sldId="2147484238"/>
              <ac:spMk id="69637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4"/>
              <pc:sldLayoutMk cId="2345599542" sldId="2147484238"/>
              <ac:spMk id="69638" creationId="{00000000-0000-0000-0000-000000000000}"/>
            </ac:spMkLst>
          </pc:spChg>
        </pc:sldLayoutChg>
      </pc:sldMasterChg>
      <pc:sldMasterChg chg="modSp del modSldLayout">
        <pc:chgData name="Belli, Rosalba" userId="a628b5ab-3fb6-4c3e-9332-89efc470c95b" providerId="ADAL" clId="{2168ACEF-CED8-4FEA-9F5B-AE21B9050818}" dt="2024-10-18T07:42:49.785" v="133" actId="2696"/>
        <pc:sldMasterMkLst>
          <pc:docMk/>
          <pc:sldMasterMk cId="0" sldId="2147483656"/>
        </pc:sldMasterMkLst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6"/>
            <ac:spMk id="4098" creationId="{B49B370A-C8D7-9529-DA87-79D7F034613D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6"/>
            <ac:spMk id="4099" creationId="{A8DBAEAB-6310-0E90-36BB-8989143EE85C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6"/>
            <ac:spMk id="4100" creationId="{57191F98-9B45-BC1F-AE34-891F33005EF6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6"/>
            <ac:spMk id="70661" creationId="{D5DFF256-E52B-B4C0-03E3-210DF03372E9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6"/>
            <ac:spMk id="70662" creationId="{DAB7F6BC-B17D-48DA-83C1-C2066CEAB8E6}"/>
          </ac:spMkLst>
        </pc:spChg>
        <pc:picChg chg="mod">
          <ac:chgData name="Belli, Rosalba" userId="a628b5ab-3fb6-4c3e-9332-89efc470c95b" providerId="ADAL" clId="{2168ACEF-CED8-4FEA-9F5B-AE21B9050818}" dt="2024-10-18T07:42:45.323" v="47"/>
          <ac:picMkLst>
            <pc:docMk/>
            <pc:sldMasterMk cId="0" sldId="2147483656"/>
            <ac:picMk id="4103" creationId="{078F3E4A-B1CB-2947-B346-B26DC11531AD}"/>
          </ac:picMkLst>
        </pc:pic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6"/>
            <pc:sldLayoutMk cId="1101500144" sldId="2147484205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1101500144" sldId="2147484205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1101500144" sldId="2147484205"/>
              <ac:spMk id="3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6"/>
            <pc:sldLayoutMk cId="2920965427" sldId="2147484206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2920965427" sldId="2147484206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2920965427" sldId="2147484206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6"/>
            <pc:sldLayoutMk cId="3491029926" sldId="2147484207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3491029926" sldId="2147484207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3491029926" sldId="2147484207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3491029926" sldId="2147484207"/>
              <ac:spMk id="4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3491029926" sldId="2147484207"/>
              <ac:spMk id="5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3491029926" sldId="2147484207"/>
              <ac:spMk id="6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6"/>
            <pc:sldLayoutMk cId="274240874" sldId="2147484210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274240874" sldId="2147484210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274240874" sldId="2147484210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274240874" sldId="2147484210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6"/>
            <pc:sldLayoutMk cId="3793035518" sldId="2147484211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3793035518" sldId="2147484211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3793035518" sldId="2147484211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3793035518" sldId="2147484211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6"/>
            <pc:sldLayoutMk cId="4170066186" sldId="2147484213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4170066186" sldId="2147484213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4170066186" sldId="2147484213"/>
              <ac:spMk id="3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6"/>
            <pc:sldLayoutMk cId="3333629737" sldId="2147484237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3333629737" sldId="2147484237"/>
              <ac:spMk id="2" creationId="{A116BC1B-EA0D-B5A9-2FDF-844A485FD4CF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3333629737" sldId="2147484237"/>
              <ac:spMk id="3" creationId="{DE6FBC3A-EA48-711D-D50C-806441375C48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3333629737" sldId="2147484237"/>
              <ac:spMk id="71684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6"/>
              <pc:sldLayoutMk cId="3333629737" sldId="2147484237"/>
              <ac:spMk id="71686" creationId="{00000000-0000-0000-0000-000000000000}"/>
            </ac:spMkLst>
          </pc:spChg>
        </pc:sldLayoutChg>
      </pc:sldMasterChg>
      <pc:sldMasterChg chg="modSp del modSldLayout">
        <pc:chgData name="Belli, Rosalba" userId="a628b5ab-3fb6-4c3e-9332-89efc470c95b" providerId="ADAL" clId="{2168ACEF-CED8-4FEA-9F5B-AE21B9050818}" dt="2024-10-18T07:42:49.802" v="135" actId="2696"/>
        <pc:sldMasterMkLst>
          <pc:docMk/>
          <pc:sldMasterMk cId="0" sldId="2147483658"/>
        </pc:sldMasterMkLst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8"/>
            <ac:spMk id="6146" creationId="{27BEC00D-C534-F2EC-8463-26640BD3FC7D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8"/>
            <ac:spMk id="6147" creationId="{DC5446B6-4A15-0CD9-757D-527537377FDF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8"/>
            <ac:spMk id="6148" creationId="{43BFC5EE-C5E0-CFD8-AFC1-8F6E36925F92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8"/>
            <ac:spMk id="72709" creationId="{8015B720-A6FD-1F56-400B-47FD81766348}"/>
          </ac:spMkLst>
        </pc:spChg>
        <pc:spChg chg="mod">
          <ac:chgData name="Belli, Rosalba" userId="a628b5ab-3fb6-4c3e-9332-89efc470c95b" providerId="ADAL" clId="{2168ACEF-CED8-4FEA-9F5B-AE21B9050818}" dt="2024-10-18T07:42:45.323" v="47"/>
          <ac:spMkLst>
            <pc:docMk/>
            <pc:sldMasterMk cId="0" sldId="2147483658"/>
            <ac:spMk id="72710" creationId="{FB97537B-F64E-0109-0781-6E60A159C762}"/>
          </ac:spMkLst>
        </pc:spChg>
        <pc:picChg chg="mod">
          <ac:chgData name="Belli, Rosalba" userId="a628b5ab-3fb6-4c3e-9332-89efc470c95b" providerId="ADAL" clId="{2168ACEF-CED8-4FEA-9F5B-AE21B9050818}" dt="2024-10-18T07:42:45.323" v="47"/>
          <ac:picMkLst>
            <pc:docMk/>
            <pc:sldMasterMk cId="0" sldId="2147483658"/>
            <ac:picMk id="6151" creationId="{C5D41342-8C39-8D24-7910-1A0C0A65C6C4}"/>
          </ac:picMkLst>
        </pc:pic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8"/>
            <pc:sldLayoutMk cId="3979664082" sldId="2147484225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3979664082" sldId="2147484225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3979664082" sldId="2147484225"/>
              <ac:spMk id="3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8"/>
            <pc:sldLayoutMk cId="744613697" sldId="2147484226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744613697" sldId="2147484226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744613697" sldId="2147484226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8"/>
            <pc:sldLayoutMk cId="2245912472" sldId="2147484227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2245912472" sldId="2147484227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2245912472" sldId="2147484227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2245912472" sldId="2147484227"/>
              <ac:spMk id="4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2245912472" sldId="2147484227"/>
              <ac:spMk id="5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2245912472" sldId="2147484227"/>
              <ac:spMk id="6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8"/>
            <pc:sldLayoutMk cId="1909191088" sldId="2147484230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1909191088" sldId="2147484230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1909191088" sldId="2147484230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1909191088" sldId="2147484230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8"/>
            <pc:sldLayoutMk cId="3755646903" sldId="2147484231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3755646903" sldId="2147484231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3755646903" sldId="2147484231"/>
              <ac:spMk id="3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3755646903" sldId="2147484231"/>
              <ac:spMk id="4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8"/>
            <pc:sldLayoutMk cId="10942095" sldId="2147484233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10942095" sldId="2147484233"/>
              <ac:spMk id="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10942095" sldId="2147484233"/>
              <ac:spMk id="3" creationId="{00000000-0000-0000-0000-000000000000}"/>
            </ac:spMkLst>
          </pc:spChg>
        </pc:sldLayoutChg>
        <pc:sldLayoutChg chg="modSp">
          <pc:chgData name="Belli, Rosalba" userId="a628b5ab-3fb6-4c3e-9332-89efc470c95b" providerId="ADAL" clId="{2168ACEF-CED8-4FEA-9F5B-AE21B9050818}" dt="2024-10-18T07:42:45.323" v="47"/>
          <pc:sldLayoutMkLst>
            <pc:docMk/>
            <pc:sldMasterMk cId="0" sldId="2147483658"/>
            <pc:sldLayoutMk cId="4147866482" sldId="2147484239"/>
          </pc:sldLayoutMkLst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4147866482" sldId="2147484239"/>
              <ac:spMk id="2" creationId="{3DA3AB57-271D-2268-B7BD-7837B8AD93AF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4147866482" sldId="2147484239"/>
              <ac:spMk id="3" creationId="{66D9B9D7-B7FD-1FB5-5A1E-2B87095C36DD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4147866482" sldId="2147484239"/>
              <ac:spMk id="73732" creationId="{00000000-0000-0000-0000-000000000000}"/>
            </ac:spMkLst>
          </pc:spChg>
          <pc:spChg chg="mod">
            <ac:chgData name="Belli, Rosalba" userId="a628b5ab-3fb6-4c3e-9332-89efc470c95b" providerId="ADAL" clId="{2168ACEF-CED8-4FEA-9F5B-AE21B9050818}" dt="2024-10-18T07:42:45.323" v="47"/>
            <ac:spMkLst>
              <pc:docMk/>
              <pc:sldMasterMk cId="0" sldId="2147483658"/>
              <pc:sldLayoutMk cId="4147866482" sldId="2147484239"/>
              <ac:spMk id="73737" creationId="{00000000-0000-0000-0000-000000000000}"/>
            </ac:spMkLst>
          </pc:spChg>
        </pc:sldLayoutChg>
      </pc:sldMasterChg>
      <pc:sldMasterChg chg="modSp mod">
        <pc:chgData name="Belli, Rosalba" userId="a628b5ab-3fb6-4c3e-9332-89efc470c95b" providerId="ADAL" clId="{2168ACEF-CED8-4FEA-9F5B-AE21B9050818}" dt="2024-10-18T07:42:50.332" v="167" actId="20577"/>
        <pc:sldMasterMkLst>
          <pc:docMk/>
          <pc:sldMasterMk cId="2636986473" sldId="2147484240"/>
        </pc:sldMasterMkLst>
        <pc:spChg chg="mod">
          <ac:chgData name="Belli, Rosalba" userId="a628b5ab-3fb6-4c3e-9332-89efc470c95b" providerId="ADAL" clId="{2168ACEF-CED8-4FEA-9F5B-AE21B9050818}" dt="2024-10-18T07:42:50.316" v="143" actId="20577"/>
          <ac:spMkLst>
            <pc:docMk/>
            <pc:sldMasterMk cId="2636986473" sldId="2147484240"/>
            <ac:spMk id="4" creationId="{00000000-0000-0000-0000-000000000000}"/>
          </ac:spMkLst>
        </pc:spChg>
        <pc:spChg chg="mod">
          <ac:chgData name="Belli, Rosalba" userId="a628b5ab-3fb6-4c3e-9332-89efc470c95b" providerId="ADAL" clId="{2168ACEF-CED8-4FEA-9F5B-AE21B9050818}" dt="2024-10-18T07:42:50.332" v="159" actId="20577"/>
          <ac:spMkLst>
            <pc:docMk/>
            <pc:sldMasterMk cId="2636986473" sldId="2147484240"/>
            <ac:spMk id="6" creationId="{00000000-0000-0000-0000-000000000000}"/>
          </ac:spMkLst>
        </pc:spChg>
        <pc:spChg chg="mod">
          <ac:chgData name="Belli, Rosalba" userId="a628b5ab-3fb6-4c3e-9332-89efc470c95b" providerId="ADAL" clId="{2168ACEF-CED8-4FEA-9F5B-AE21B9050818}" dt="2024-10-18T07:42:50.323" v="151" actId="20577"/>
          <ac:spMkLst>
            <pc:docMk/>
            <pc:sldMasterMk cId="2636986473" sldId="2147484240"/>
            <ac:spMk id="10" creationId="{00000000-0000-0000-0000-000000000000}"/>
          </ac:spMkLst>
        </pc:spChg>
        <pc:spChg chg="mod">
          <ac:chgData name="Belli, Rosalba" userId="a628b5ab-3fb6-4c3e-9332-89efc470c95b" providerId="ADAL" clId="{2168ACEF-CED8-4FEA-9F5B-AE21B9050818}" dt="2024-10-18T07:42:50.332" v="167" actId="20577"/>
          <ac:spMkLst>
            <pc:docMk/>
            <pc:sldMasterMk cId="2636986473" sldId="2147484240"/>
            <ac:spMk id="32" creationId="{00000000-0000-0000-0000-000000000000}"/>
          </ac:spMkLst>
        </pc:spChg>
      </pc:sldMaster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Rectangle 2">
            <a:extLst>
              <a:ext uri="{FF2B5EF4-FFF2-40B4-BE49-F238E27FC236}">
                <a16:creationId xmlns:a16="http://schemas.microsoft.com/office/drawing/2014/main" id="{ADA94BB9-C268-6B0C-FD82-F68654D8B6E3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de-DE" altLang="en-US"/>
          </a:p>
        </p:txBody>
      </p:sp>
      <p:sp>
        <p:nvSpPr>
          <p:cNvPr id="53251" name="Rectangle 3">
            <a:extLst>
              <a:ext uri="{FF2B5EF4-FFF2-40B4-BE49-F238E27FC236}">
                <a16:creationId xmlns:a16="http://schemas.microsoft.com/office/drawing/2014/main" id="{313C205D-3F73-8511-1949-0FE3D0AF124D}"/>
              </a:ext>
            </a:extLst>
          </p:cNvPr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de-DE" altLang="en-US"/>
          </a:p>
        </p:txBody>
      </p:sp>
      <p:sp>
        <p:nvSpPr>
          <p:cNvPr id="53252" name="Rectangle 4">
            <a:extLst>
              <a:ext uri="{FF2B5EF4-FFF2-40B4-BE49-F238E27FC236}">
                <a16:creationId xmlns:a16="http://schemas.microsoft.com/office/drawing/2014/main" id="{3150AB94-DE2D-A798-E805-315A65CE8909}"/>
              </a:ext>
            </a:extLst>
          </p:cNvPr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1" hangingPunct="1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de-DE" altLang="en-US"/>
          </a:p>
        </p:txBody>
      </p:sp>
      <p:sp>
        <p:nvSpPr>
          <p:cNvPr id="53253" name="Rectangle 5">
            <a:extLst>
              <a:ext uri="{FF2B5EF4-FFF2-40B4-BE49-F238E27FC236}">
                <a16:creationId xmlns:a16="http://schemas.microsoft.com/office/drawing/2014/main" id="{9B13347F-C4D6-45A0-093D-5037C88F5191}"/>
              </a:ext>
            </a:extLst>
          </p:cNvPr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/>
            </a:lvl1pPr>
          </a:lstStyle>
          <a:p>
            <a:fld id="{E0D8E2BF-79E8-44B5-9D99-993A95DABDE9}" type="slidenum">
              <a:rPr lang="de-DE" altLang="en-US"/>
              <a:pPr/>
              <a:t>‹N›</a:t>
            </a:fld>
            <a:endParaRPr lang="de-DE" alt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>
            <a:extLst>
              <a:ext uri="{FF2B5EF4-FFF2-40B4-BE49-F238E27FC236}">
                <a16:creationId xmlns:a16="http://schemas.microsoft.com/office/drawing/2014/main" id="{C2FC9B1A-AE1C-9A06-9A8C-87363DDDB77D}"/>
              </a:ext>
            </a:extLst>
          </p:cNvPr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1" hangingPunct="1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de-DE" altLang="en-US"/>
          </a:p>
        </p:txBody>
      </p:sp>
      <p:sp>
        <p:nvSpPr>
          <p:cNvPr id="6147" name="Rectangle 3">
            <a:extLst>
              <a:ext uri="{FF2B5EF4-FFF2-40B4-BE49-F238E27FC236}">
                <a16:creationId xmlns:a16="http://schemas.microsoft.com/office/drawing/2014/main" id="{74884124-A04D-08FF-17A4-61E887D1FD91}"/>
              </a:ext>
            </a:extLst>
          </p:cNvPr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de-DE" altLang="en-US"/>
          </a:p>
        </p:txBody>
      </p:sp>
      <p:sp>
        <p:nvSpPr>
          <p:cNvPr id="13316" name="Rectangle 4">
            <a:extLst>
              <a:ext uri="{FF2B5EF4-FFF2-40B4-BE49-F238E27FC236}">
                <a16:creationId xmlns:a16="http://schemas.microsoft.com/office/drawing/2014/main" id="{6D74724A-65C6-031D-12D9-1F1C03A2661E}"/>
              </a:ext>
            </a:extLst>
          </p:cNvPr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6149" name="Rectangle 5">
            <a:extLst>
              <a:ext uri="{FF2B5EF4-FFF2-40B4-BE49-F238E27FC236}">
                <a16:creationId xmlns:a16="http://schemas.microsoft.com/office/drawing/2014/main" id="{2DDB18CF-FDC7-2CF0-B5B0-1AF3C6E8D327}"/>
              </a:ext>
            </a:extLst>
          </p:cNvPr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4875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en-US" noProof="0"/>
              <a:t>Textmasterformate durch Klicken bearbeiten</a:t>
            </a:r>
          </a:p>
          <a:p>
            <a:pPr lvl="1"/>
            <a:r>
              <a:rPr lang="de-DE" altLang="en-US" noProof="0"/>
              <a:t>Zweite Ebene</a:t>
            </a:r>
          </a:p>
          <a:p>
            <a:pPr lvl="2"/>
            <a:r>
              <a:rPr lang="de-DE" altLang="en-US" noProof="0"/>
              <a:t>Dritte Ebene</a:t>
            </a:r>
          </a:p>
          <a:p>
            <a:pPr lvl="3"/>
            <a:r>
              <a:rPr lang="de-DE" altLang="en-US" noProof="0"/>
              <a:t>Vierte Ebene</a:t>
            </a:r>
          </a:p>
          <a:p>
            <a:pPr lvl="4"/>
            <a:r>
              <a:rPr lang="de-DE" altLang="en-US" noProof="0"/>
              <a:t>Fünfte Ebene</a:t>
            </a:r>
          </a:p>
        </p:txBody>
      </p:sp>
      <p:sp>
        <p:nvSpPr>
          <p:cNvPr id="6150" name="Rectangle 6">
            <a:extLst>
              <a:ext uri="{FF2B5EF4-FFF2-40B4-BE49-F238E27FC236}">
                <a16:creationId xmlns:a16="http://schemas.microsoft.com/office/drawing/2014/main" id="{C2D15CFC-9E6B-B0EC-FA77-22C9D30FD5E9}"/>
              </a:ext>
            </a:extLst>
          </p:cNvPr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0" tIns="45720" rIns="180000" bIns="4572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1200" b="0">
                <a:latin typeface="Arial" charset="0"/>
              </a:defRPr>
            </a:lvl1pPr>
          </a:lstStyle>
          <a:p>
            <a:pPr>
              <a:defRPr/>
            </a:pPr>
            <a:endParaRPr lang="de-DE" altLang="en-US"/>
          </a:p>
        </p:txBody>
      </p:sp>
      <p:sp>
        <p:nvSpPr>
          <p:cNvPr id="6151" name="Rectangle 7">
            <a:extLst>
              <a:ext uri="{FF2B5EF4-FFF2-40B4-BE49-F238E27FC236}">
                <a16:creationId xmlns:a16="http://schemas.microsoft.com/office/drawing/2014/main" id="{079C06D3-42DE-11DE-9C93-A7DDC8AC4053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0" tIns="45720" rIns="18000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 b="0"/>
            </a:lvl1pPr>
          </a:lstStyle>
          <a:p>
            <a:fld id="{EEBCD82D-E424-4040-8F71-0E4132252622}" type="slidenum">
              <a:rPr lang="de-DE" altLang="en-US"/>
              <a:pPr/>
              <a:t>‹N›</a:t>
            </a:fld>
            <a:endParaRPr lang="de-DE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>
            <a:extLst>
              <a:ext uri="{FF2B5EF4-FFF2-40B4-BE49-F238E27FC236}">
                <a16:creationId xmlns:a16="http://schemas.microsoft.com/office/drawing/2014/main" id="{0E8FD532-4199-3F04-B83B-707F035EB63D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3663" y="744538"/>
            <a:ext cx="6615112" cy="3722687"/>
          </a:xfrm>
          <a:ln/>
        </p:spPr>
      </p:sp>
      <p:sp>
        <p:nvSpPr>
          <p:cNvPr id="16387" name="Rectangle 3">
            <a:extLst>
              <a:ext uri="{FF2B5EF4-FFF2-40B4-BE49-F238E27FC236}">
                <a16:creationId xmlns:a16="http://schemas.microsoft.com/office/drawing/2014/main" id="{90F67B89-B202-B659-6A9D-5F1BCDD3B6B4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altLang="en-US" b="1">
                <a:latin typeface="Arial" panose="020B0604020202020204" pitchFamily="34" charset="0"/>
              </a:rPr>
              <a:t>Utilizzo/Descrizione</a:t>
            </a:r>
          </a:p>
          <a:p>
            <a:pPr eaLnBrk="1" hangingPunct="1">
              <a:lnSpc>
                <a:spcPct val="90000"/>
              </a:lnSpc>
            </a:pPr>
            <a:endParaRPr lang="en-US" altLang="en-US" b="1">
              <a:latin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</a:pPr>
            <a:endParaRPr lang="en-US" altLang="en-US">
              <a:latin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en-US" altLang="en-US">
                <a:latin typeface="Arial" panose="020B0604020202020204" pitchFamily="34" charset="0"/>
              </a:rPr>
              <a:t>Diapositiva di testo, base</a:t>
            </a:r>
          </a:p>
          <a:p>
            <a:pPr eaLnBrk="1" hangingPunct="1">
              <a:lnSpc>
                <a:spcPct val="90000"/>
              </a:lnSpc>
            </a:pPr>
            <a:endParaRPr lang="en-US" altLang="en-US">
              <a:latin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en-US" altLang="en-US" b="1">
                <a:latin typeface="Arial" panose="020B0604020202020204" pitchFamily="34" charset="0"/>
              </a:rPr>
              <a:t>Carattetistiche</a:t>
            </a:r>
          </a:p>
          <a:p>
            <a:pPr eaLnBrk="1" hangingPunct="1">
              <a:lnSpc>
                <a:spcPct val="90000"/>
              </a:lnSpc>
            </a:pPr>
            <a:endParaRPr lang="en-US" altLang="en-US">
              <a:latin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en-US" altLang="en-US">
                <a:latin typeface="Arial" panose="020B0604020202020204" pitchFamily="34" charset="0"/>
              </a:rPr>
              <a:t>Clip a margine da sinistra, in Viola Evonik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>
                <a:latin typeface="Arial" panose="020B0604020202020204" pitchFamily="34" charset="0"/>
              </a:rPr>
              <a:t>Marchio Evonik </a:t>
            </a:r>
            <a:r>
              <a:rPr lang="en-US" altLang="en-US" b="1">
                <a:latin typeface="Arial" panose="020B0604020202020204" pitchFamily="34" charset="0"/>
              </a:rPr>
              <a:t>sempre su fondo bianco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>
                <a:latin typeface="Arial" panose="020B0604020202020204" pitchFamily="34" charset="0"/>
              </a:rPr>
              <a:t>Il titolo è costruito dal basso, in grassetto Arial 27pt, colore bianco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>
                <a:latin typeface="Arial" panose="020B0604020202020204" pitchFamily="34" charset="0"/>
              </a:rPr>
              <a:t>Posizione del titolo: orizzontale =  1,27 cm, verticale 0,32 cm</a:t>
            </a:r>
          </a:p>
          <a:p>
            <a:pPr eaLnBrk="1" hangingPunct="1">
              <a:lnSpc>
                <a:spcPct val="90000"/>
              </a:lnSpc>
            </a:pPr>
            <a:endParaRPr lang="en-US" altLang="en-US">
              <a:latin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en-US" altLang="en-US">
                <a:latin typeface="Arial" panose="020B0604020202020204" pitchFamily="34" charset="0"/>
              </a:rPr>
              <a:t>Testo in Arial pt 17, normale, colore nero, </a:t>
            </a:r>
            <a:r>
              <a:rPr lang="en-US" altLang="en-US" b="1">
                <a:latin typeface="Arial" panose="020B0604020202020204" pitchFamily="34" charset="0"/>
              </a:rPr>
              <a:t>non deve superare</a:t>
            </a:r>
            <a:br>
              <a:rPr lang="en-US" altLang="en-US" b="1">
                <a:latin typeface="Arial" panose="020B0604020202020204" pitchFamily="34" charset="0"/>
              </a:rPr>
            </a:br>
            <a:r>
              <a:rPr lang="en-US" altLang="en-US" b="1">
                <a:latin typeface="Arial" panose="020B0604020202020204" pitchFamily="34" charset="0"/>
              </a:rPr>
              <a:t>l'ingombro della clip</a:t>
            </a:r>
            <a:r>
              <a:rPr lang="en-US" altLang="en-US">
                <a:latin typeface="Arial" panose="020B0604020202020204" pitchFamily="34" charset="0"/>
              </a:rPr>
              <a:t> </a:t>
            </a:r>
          </a:p>
          <a:p>
            <a:pPr eaLnBrk="1" hangingPunct="1">
              <a:lnSpc>
                <a:spcPct val="90000"/>
              </a:lnSpc>
            </a:pPr>
            <a:endParaRPr lang="en-US" altLang="en-US">
              <a:latin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en-US" altLang="en-US">
                <a:latin typeface="Arial" panose="020B0604020202020204" pitchFamily="34" charset="0"/>
              </a:rPr>
              <a:t>Posizione: orizzontale = 1,27 cm, verticale 4,72 cm</a:t>
            </a:r>
          </a:p>
          <a:p>
            <a:pPr eaLnBrk="1" hangingPunct="1">
              <a:lnSpc>
                <a:spcPct val="90000"/>
              </a:lnSpc>
            </a:pPr>
            <a:endParaRPr lang="en-US" altLang="en-US">
              <a:latin typeface="Arial" panose="020B0604020202020204" pitchFamily="34" charset="0"/>
            </a:endParaRPr>
          </a:p>
          <a:p>
            <a:pPr eaLnBrk="1" hangingPunct="1">
              <a:lnSpc>
                <a:spcPct val="90000"/>
              </a:lnSpc>
            </a:pPr>
            <a:r>
              <a:rPr lang="en-US" altLang="en-US" b="1">
                <a:latin typeface="Arial" panose="020B0604020202020204" pitchFamily="34" charset="0"/>
              </a:rPr>
              <a:t>Note:</a:t>
            </a:r>
            <a:r>
              <a:rPr lang="en-US" altLang="en-US">
                <a:latin typeface="Arial" panose="020B0604020202020204" pitchFamily="34" charset="0"/>
              </a:rPr>
              <a:t> eventuali evidenziazioni di testo </a:t>
            </a:r>
            <a:r>
              <a:rPr lang="en-US" altLang="en-US" b="1">
                <a:latin typeface="Arial" panose="020B0604020202020204" pitchFamily="34" charset="0"/>
              </a:rPr>
              <a:t>solo in grassetto</a:t>
            </a:r>
            <a:r>
              <a:rPr lang="en-US" altLang="en-US">
                <a:latin typeface="Arial" panose="020B0604020202020204" pitchFamily="34" charset="0"/>
              </a:rPr>
              <a:t>. Mai usare </a:t>
            </a:r>
          </a:p>
          <a:p>
            <a:pPr eaLnBrk="1" hangingPunct="1">
              <a:lnSpc>
                <a:spcPct val="90000"/>
              </a:lnSpc>
            </a:pPr>
            <a:r>
              <a:rPr lang="en-US" altLang="en-US">
                <a:latin typeface="Arial" panose="020B0604020202020204" pitchFamily="34" charset="0"/>
              </a:rPr>
              <a:t>Il Viola Evonik nell'ambito del testo.</a:t>
            </a:r>
          </a:p>
          <a:p>
            <a:pPr eaLnBrk="1" hangingPunct="1">
              <a:lnSpc>
                <a:spcPct val="90000"/>
              </a:lnSpc>
            </a:pPr>
            <a:endParaRPr lang="en-US" altLang="en-US">
              <a:latin typeface="Arial" panose="020B0604020202020204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bin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.png"/><Relationship Id="rId4" Type="http://schemas.openxmlformats.org/officeDocument/2006/relationships/image" Target="../media/image1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bin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bin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bin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5" Type="http://schemas.openxmlformats.org/officeDocument/2006/relationships/image" Target="../media/image1.bin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bin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7" Type="http://schemas.openxmlformats.org/officeDocument/2006/relationships/image" Target="../media/image1.bin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reihandform: Form 10">
            <a:extLst>
              <a:ext uri="{FF2B5EF4-FFF2-40B4-BE49-F238E27FC236}">
                <a16:creationId xmlns:a16="http://schemas.microsoft.com/office/drawing/2014/main" id="{6A71C790-7B1C-4816-A421-B3E616FC8B95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9 w 12192000"/>
              <a:gd name="connsiteY3" fmla="*/ 6858000 h 6858000"/>
              <a:gd name="connsiteX4" fmla="*/ 12191999 w 12192000"/>
              <a:gd name="connsiteY4" fmla="*/ 6057900 h 6858000"/>
              <a:gd name="connsiteX5" fmla="*/ 9359899 w 12192000"/>
              <a:gd name="connsiteY5" fmla="*/ 6057900 h 6858000"/>
              <a:gd name="connsiteX6" fmla="*/ 9359899 w 12192000"/>
              <a:gd name="connsiteY6" fmla="*/ 6858000 h 6858000"/>
              <a:gd name="connsiteX7" fmla="*/ 5159896 w 12192000"/>
              <a:gd name="connsiteY7" fmla="*/ 6858000 h 6858000"/>
              <a:gd name="connsiteX8" fmla="*/ 5159896 w 12192000"/>
              <a:gd name="connsiteY8" fmla="*/ 6608802 h 6858000"/>
              <a:gd name="connsiteX9" fmla="*/ 0 w 12192000"/>
              <a:gd name="connsiteY9" fmla="*/ 66088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9" y="6858000"/>
                </a:lnTo>
                <a:lnTo>
                  <a:pt x="12191999" y="6057900"/>
                </a:lnTo>
                <a:lnTo>
                  <a:pt x="9359899" y="6057900"/>
                </a:lnTo>
                <a:lnTo>
                  <a:pt x="9359899" y="6858000"/>
                </a:lnTo>
                <a:lnTo>
                  <a:pt x="5159896" y="6858000"/>
                </a:lnTo>
                <a:lnTo>
                  <a:pt x="5159896" y="6608802"/>
                </a:lnTo>
                <a:lnTo>
                  <a:pt x="0" y="66088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33375"/>
            <a:ext cx="11303999" cy="4571788"/>
          </a:xfrm>
          <a:solidFill>
            <a:schemeClr val="accent2"/>
          </a:solidFill>
        </p:spPr>
        <p:txBody>
          <a:bodyPr lIns="360000" tIns="360000" rIns="360000" bIns="360000" anchor="t" anchorCtr="0"/>
          <a:lstStyle>
            <a:lvl1pPr algn="l">
              <a:lnSpc>
                <a:spcPct val="100000"/>
              </a:lnSpc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Placeholder text for title slide option 1</a:t>
            </a:r>
            <a:br>
              <a:rPr lang="en-US"/>
            </a:br>
            <a:r>
              <a:rPr lang="en-US"/>
              <a:t>Catchy presentation title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5013177"/>
            <a:ext cx="11303999" cy="828824"/>
          </a:xfrm>
          <a:solidFill>
            <a:schemeClr val="bg2"/>
          </a:solidFill>
        </p:spPr>
        <p:txBody>
          <a:bodyPr lIns="360000" tIns="108000" rIns="360000" bIns="108000"/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laceholder text Date  |  Present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2096853"/>
            <a:ext cx="11303999" cy="914401"/>
          </a:xfrm>
        </p:spPr>
        <p:txBody>
          <a:bodyPr lIns="360000" rIns="36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000" b="0" baseline="0"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/>
              <a:t>Placeholder text for subline. Move box to correct position or delete.</a:t>
            </a:r>
          </a:p>
        </p:txBody>
      </p:sp>
      <p:sp>
        <p:nvSpPr>
          <p:cNvPr id="8" name="Rechteck 7" hidden="1"/>
          <p:cNvSpPr/>
          <p:nvPr userDrawn="1">
            <p:custDataLst>
              <p:tags r:id="rId2"/>
            </p:custDataLst>
          </p:nvPr>
        </p:nvSpPr>
        <p:spPr>
          <a:xfrm>
            <a:off x="435712" y="326488"/>
            <a:ext cx="11318400" cy="552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47957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v="urn:schemas-microsoft-com:vml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9">
          <p15:clr>
            <a:srgbClr val="C35EA4"/>
          </p15:clr>
        </p15:guide>
        <p15:guide id="2" orient="horz" pos="3680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10">
          <p15:clr>
            <a:srgbClr val="C35EA4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810441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5000" b="1" i="0" u="none" baseline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hteck 5"/>
          <p:cNvSpPr/>
          <p:nvPr userDrawn="1"/>
        </p:nvSpPr>
        <p:spPr bwMode="white">
          <a:xfrm>
            <a:off x="0" y="1"/>
            <a:ext cx="12192000" cy="5984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442913" y="333375"/>
            <a:ext cx="11303999" cy="5508625"/>
          </a:xfrm>
          <a:solidFill>
            <a:schemeClr val="accent2"/>
          </a:solidFill>
        </p:spPr>
        <p:txBody>
          <a:bodyPr lIns="360000" tIns="360000" rIns="360000" bIns="360000" anchor="t"/>
          <a:lstStyle>
            <a:lvl1pPr>
              <a:lnSpc>
                <a:spcPct val="100000"/>
              </a:lnSpc>
              <a:defRPr sz="5000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Text placeholder for key message.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|  Date  |  Presentation title (-&gt;Insert header and footer  – Apply to All, page numbers are generated automatically)</a:t>
            </a:r>
          </a:p>
        </p:txBody>
      </p:sp>
      <p:sp>
        <p:nvSpPr>
          <p:cNvPr id="11" name="Rechteck 10" hidden="1"/>
          <p:cNvSpPr/>
          <p:nvPr userDrawn="1">
            <p:custDataLst>
              <p:tags r:id="rId3"/>
            </p:custDataLst>
          </p:nvPr>
        </p:nvSpPr>
        <p:spPr>
          <a:xfrm>
            <a:off x="435712" y="326488"/>
            <a:ext cx="11318400" cy="552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64468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9">
          <p15:clr>
            <a:srgbClr val="C35EA4"/>
          </p15:clr>
        </p15:guide>
        <p15:guide id="2" pos="7401">
          <p15:clr>
            <a:srgbClr val="C35EA4"/>
          </p15:clr>
        </p15:guide>
        <p15:guide id="3" orient="horz" pos="210">
          <p15:clr>
            <a:srgbClr val="C35EA4"/>
          </p15:clr>
        </p15:guide>
        <p15:guide id="4" orient="horz" pos="3680">
          <p15:clr>
            <a:srgbClr val="C35E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44" imgH="344" progId="TCLayout.ActiveDocument.1">
                  <p:embed/>
                </p:oleObj>
              </mc:Choice>
              <mc:Fallback>
                <p:oleObj name="think-cell Folie" r:id="rId3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reihandform: Form 6">
            <a:extLst>
              <a:ext uri="{FF2B5EF4-FFF2-40B4-BE49-F238E27FC236}">
                <a16:creationId xmlns:a16="http://schemas.microsoft.com/office/drawing/2014/main" id="{6F7C8CC3-B59C-4B36-971A-E4BDFFF0B2F9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5159896 w 12192000"/>
              <a:gd name="connsiteY3" fmla="*/ 6858000 h 6858000"/>
              <a:gd name="connsiteX4" fmla="*/ 5159896 w 12192000"/>
              <a:gd name="connsiteY4" fmla="*/ 6608802 h 6858000"/>
              <a:gd name="connsiteX5" fmla="*/ 0 w 12192000"/>
              <a:gd name="connsiteY5" fmla="*/ 66088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5159896" y="6858000"/>
                </a:lnTo>
                <a:lnTo>
                  <a:pt x="5159896" y="6608802"/>
                </a:lnTo>
                <a:lnTo>
                  <a:pt x="0" y="66088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2" name="Inhaltsplatzhalter 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5C943D6F-6088-195C-5BA6-2E482F44F823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2915071" y="2604220"/>
            <a:ext cx="6361859" cy="1649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0884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v="urn:schemas-microsoft-com:vml" xmlns:a16="http://schemas.microsoft.com/office/drawing/2014/main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68EB6357-2474-4595-A581-D7A30B68B03B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9 w 12192000"/>
              <a:gd name="connsiteY3" fmla="*/ 6858000 h 6858000"/>
              <a:gd name="connsiteX4" fmla="*/ 12191999 w 12192000"/>
              <a:gd name="connsiteY4" fmla="*/ 6057900 h 6858000"/>
              <a:gd name="connsiteX5" fmla="*/ 9359899 w 12192000"/>
              <a:gd name="connsiteY5" fmla="*/ 6057900 h 6858000"/>
              <a:gd name="connsiteX6" fmla="*/ 9359899 w 12192000"/>
              <a:gd name="connsiteY6" fmla="*/ 6858000 h 6858000"/>
              <a:gd name="connsiteX7" fmla="*/ 5159896 w 12192000"/>
              <a:gd name="connsiteY7" fmla="*/ 6858000 h 6858000"/>
              <a:gd name="connsiteX8" fmla="*/ 5159896 w 12192000"/>
              <a:gd name="connsiteY8" fmla="*/ 6608802 h 6858000"/>
              <a:gd name="connsiteX9" fmla="*/ 0 w 12192000"/>
              <a:gd name="connsiteY9" fmla="*/ 66088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9" y="6858000"/>
                </a:lnTo>
                <a:lnTo>
                  <a:pt x="12191999" y="6057900"/>
                </a:lnTo>
                <a:lnTo>
                  <a:pt x="9359899" y="6057900"/>
                </a:lnTo>
                <a:lnTo>
                  <a:pt x="9359899" y="6858000"/>
                </a:lnTo>
                <a:lnTo>
                  <a:pt x="5159896" y="6858000"/>
                </a:lnTo>
                <a:lnTo>
                  <a:pt x="5159896" y="6608802"/>
                </a:lnTo>
                <a:lnTo>
                  <a:pt x="0" y="66088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33375"/>
            <a:ext cx="4884738" cy="3670925"/>
          </a:xfrm>
          <a:solidFill>
            <a:schemeClr val="accent2"/>
          </a:solidFill>
        </p:spPr>
        <p:txBody>
          <a:bodyPr lIns="180000" tIns="180000" rIns="180000" bIns="180000" anchor="t" anchorCtr="0"/>
          <a:lstStyle>
            <a:lvl1pPr algn="l"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Placeholder text for title slide option 2</a:t>
            </a:r>
            <a:br>
              <a:rPr lang="en-US"/>
            </a:br>
            <a:r>
              <a:rPr lang="en-US"/>
              <a:t>Catchy presentation title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4120064"/>
            <a:ext cx="4884738" cy="1721936"/>
          </a:xfrm>
          <a:solidFill>
            <a:schemeClr val="bg2"/>
          </a:solidFill>
        </p:spPr>
        <p:txBody>
          <a:bodyPr lIns="180000" tIns="108000" rIns="180000" bIns="108000"/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laceholder text Date  |  Present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2287723"/>
            <a:ext cx="4884738" cy="914401"/>
          </a:xfrm>
        </p:spPr>
        <p:txBody>
          <a:bodyPr lIns="180000" tIns="0" rIns="18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 baseline="0"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/>
              <a:t>Placeholder text for subline. Move box to correct position or delete.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5431298" y="333376"/>
            <a:ext cx="6317790" cy="5508624"/>
          </a:xfrm>
        </p:spPr>
        <p:txBody>
          <a:bodyPr bIns="900000" anchor="ctr"/>
          <a:lstStyle>
            <a:lvl1pPr marL="0" indent="0" algn="ctr">
              <a:spcBef>
                <a:spcPts val="0"/>
              </a:spcBef>
              <a:buNone/>
              <a:defRPr baseline="0"/>
            </a:lvl1pPr>
          </a:lstStyle>
          <a:p>
            <a:r>
              <a:rPr lang="en-US" noProof="0" dirty="0"/>
              <a:t>Click here to insert visual </a:t>
            </a:r>
            <a:br>
              <a:rPr lang="en-US" noProof="0" dirty="0"/>
            </a:br>
            <a:r>
              <a:rPr lang="en-US" noProof="0" dirty="0"/>
              <a:t>(full-screen image or extracted)</a:t>
            </a:r>
          </a:p>
        </p:txBody>
      </p:sp>
      <p:sp>
        <p:nvSpPr>
          <p:cNvPr id="9" name="Rechteck 8" hidden="1"/>
          <p:cNvSpPr/>
          <p:nvPr userDrawn="1">
            <p:custDataLst>
              <p:tags r:id="rId2"/>
            </p:custDataLst>
          </p:nvPr>
        </p:nvSpPr>
        <p:spPr>
          <a:xfrm>
            <a:off x="435712" y="326488"/>
            <a:ext cx="11318400" cy="552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62402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79">
          <p15:clr>
            <a:srgbClr val="C35EA4"/>
          </p15:clr>
        </p15:guide>
        <p15:guide id="2" pos="7401">
          <p15:clr>
            <a:srgbClr val="C35EA4"/>
          </p15:clr>
        </p15:guide>
        <p15:guide id="3" orient="horz" pos="210">
          <p15:clr>
            <a:srgbClr val="C35EA4"/>
          </p15:clr>
        </p15:guide>
        <p15:guide id="4" orient="horz" pos="3680">
          <p15:clr>
            <a:srgbClr val="C35E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9A6CF94C-3426-49B8-A286-C8A91F76D555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9 w 12192000"/>
              <a:gd name="connsiteY3" fmla="*/ 6858000 h 6858000"/>
              <a:gd name="connsiteX4" fmla="*/ 12191999 w 12192000"/>
              <a:gd name="connsiteY4" fmla="*/ 6057900 h 6858000"/>
              <a:gd name="connsiteX5" fmla="*/ 9359899 w 12192000"/>
              <a:gd name="connsiteY5" fmla="*/ 6057900 h 6858000"/>
              <a:gd name="connsiteX6" fmla="*/ 9359899 w 12192000"/>
              <a:gd name="connsiteY6" fmla="*/ 6858000 h 6858000"/>
              <a:gd name="connsiteX7" fmla="*/ 5159896 w 12192000"/>
              <a:gd name="connsiteY7" fmla="*/ 6858000 h 6858000"/>
              <a:gd name="connsiteX8" fmla="*/ 5159896 w 12192000"/>
              <a:gd name="connsiteY8" fmla="*/ 6608802 h 6858000"/>
              <a:gd name="connsiteX9" fmla="*/ 0 w 12192000"/>
              <a:gd name="connsiteY9" fmla="*/ 66088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9" y="6858000"/>
                </a:lnTo>
                <a:lnTo>
                  <a:pt x="12191999" y="6057900"/>
                </a:lnTo>
                <a:lnTo>
                  <a:pt x="9359899" y="6057900"/>
                </a:lnTo>
                <a:lnTo>
                  <a:pt x="9359899" y="6858000"/>
                </a:lnTo>
                <a:lnTo>
                  <a:pt x="5159896" y="6858000"/>
                </a:lnTo>
                <a:lnTo>
                  <a:pt x="5159896" y="6608802"/>
                </a:lnTo>
                <a:lnTo>
                  <a:pt x="0" y="66088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noProof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6673632" y="333375"/>
            <a:ext cx="5075456" cy="3814924"/>
          </a:xfrm>
          <a:solidFill>
            <a:schemeClr val="accent2"/>
          </a:solidFill>
        </p:spPr>
        <p:txBody>
          <a:bodyPr lIns="180000" tIns="180000" rIns="180000" bIns="180000" anchor="t" anchorCtr="0"/>
          <a:lstStyle>
            <a:lvl1pPr algn="l"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Placeholder text for title slide option 3</a:t>
            </a:r>
            <a:br>
              <a:rPr lang="en-US"/>
            </a:br>
            <a:r>
              <a:rPr lang="en-US"/>
              <a:t>Catchy presentation title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673632" y="4255654"/>
            <a:ext cx="5075456" cy="1586346"/>
          </a:xfrm>
          <a:solidFill>
            <a:schemeClr val="bg2"/>
          </a:solidFill>
        </p:spPr>
        <p:txBody>
          <a:bodyPr lIns="180000" tIns="108000" rIns="180000" bIns="108000"/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laceholder text Date  |  Present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6673632" y="2317565"/>
            <a:ext cx="5075456" cy="914401"/>
          </a:xfrm>
        </p:spPr>
        <p:txBody>
          <a:bodyPr lIns="180000" tIns="0" rIns="18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 baseline="0"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/>
              <a:t>Placeholder text for subline. Move box to correct position or delete.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442913" y="333375"/>
            <a:ext cx="6086720" cy="5508625"/>
          </a:xfrm>
        </p:spPr>
        <p:txBody>
          <a:bodyPr bIns="900000" anchor="ctr"/>
          <a:lstStyle>
            <a:lvl1pPr marL="0" indent="0" algn="ctr">
              <a:spcBef>
                <a:spcPts val="0"/>
              </a:spcBef>
              <a:buNone/>
              <a:defRPr baseline="0"/>
            </a:lvl1pPr>
          </a:lstStyle>
          <a:p>
            <a:r>
              <a:rPr lang="en-US" noProof="0" dirty="0"/>
              <a:t>Click here to insert visual </a:t>
            </a:r>
            <a:br>
              <a:rPr lang="en-US" noProof="0" dirty="0"/>
            </a:br>
            <a:r>
              <a:rPr lang="en-US" noProof="0" dirty="0"/>
              <a:t>(full-screen image or extracted)</a:t>
            </a:r>
          </a:p>
        </p:txBody>
      </p:sp>
      <p:sp>
        <p:nvSpPr>
          <p:cNvPr id="9" name="Rechteck 8" hidden="1"/>
          <p:cNvSpPr/>
          <p:nvPr userDrawn="1">
            <p:custDataLst>
              <p:tags r:id="rId2"/>
            </p:custDataLst>
          </p:nvPr>
        </p:nvSpPr>
        <p:spPr>
          <a:xfrm>
            <a:off x="435712" y="326488"/>
            <a:ext cx="11318400" cy="552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7190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680">
          <p15:clr>
            <a:srgbClr val="C35EA4"/>
          </p15:clr>
        </p15:guide>
        <p15:guide id="2" pos="279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10">
          <p15:clr>
            <a:srgbClr val="C35EA4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ihandform: Form 11">
            <a:extLst>
              <a:ext uri="{FF2B5EF4-FFF2-40B4-BE49-F238E27FC236}">
                <a16:creationId xmlns:a16="http://schemas.microsoft.com/office/drawing/2014/main" id="{9D335D9C-9697-4E59-A0B3-BFE1C91055F8}"/>
              </a:ext>
            </a:extLst>
          </p:cNvPr>
          <p:cNvSpPr/>
          <p:nvPr userDrawn="1"/>
        </p:nvSpPr>
        <p:spPr bwMode="white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2191999 w 12192000"/>
              <a:gd name="connsiteY3" fmla="*/ 6858000 h 6858000"/>
              <a:gd name="connsiteX4" fmla="*/ 12191999 w 12192000"/>
              <a:gd name="connsiteY4" fmla="*/ 6057900 h 6858000"/>
              <a:gd name="connsiteX5" fmla="*/ 9359899 w 12192000"/>
              <a:gd name="connsiteY5" fmla="*/ 6057900 h 6858000"/>
              <a:gd name="connsiteX6" fmla="*/ 9359899 w 12192000"/>
              <a:gd name="connsiteY6" fmla="*/ 6858000 h 6858000"/>
              <a:gd name="connsiteX7" fmla="*/ 5159896 w 12192000"/>
              <a:gd name="connsiteY7" fmla="*/ 6858000 h 6858000"/>
              <a:gd name="connsiteX8" fmla="*/ 5159896 w 12192000"/>
              <a:gd name="connsiteY8" fmla="*/ 6608802 h 6858000"/>
              <a:gd name="connsiteX9" fmla="*/ 0 w 12192000"/>
              <a:gd name="connsiteY9" fmla="*/ 660880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2191999" y="6858000"/>
                </a:lnTo>
                <a:lnTo>
                  <a:pt x="12191999" y="6057900"/>
                </a:lnTo>
                <a:lnTo>
                  <a:pt x="9359899" y="6057900"/>
                </a:lnTo>
                <a:lnTo>
                  <a:pt x="9359899" y="6858000"/>
                </a:lnTo>
                <a:lnTo>
                  <a:pt x="5159896" y="6858000"/>
                </a:lnTo>
                <a:lnTo>
                  <a:pt x="5159896" y="6608802"/>
                </a:lnTo>
                <a:lnTo>
                  <a:pt x="0" y="660880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auto">
          <a:xfrm>
            <a:off x="442913" y="333375"/>
            <a:ext cx="8195452" cy="2230924"/>
          </a:xfrm>
          <a:solidFill>
            <a:schemeClr val="accent2"/>
          </a:solidFill>
        </p:spPr>
        <p:txBody>
          <a:bodyPr lIns="180000" tIns="180000" rIns="180000" bIns="180000" anchor="t" anchorCtr="0"/>
          <a:lstStyle>
            <a:lvl1pPr algn="l">
              <a:lnSpc>
                <a:spcPct val="100000"/>
              </a:lnSpc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Placeholder text for title slide option 4</a:t>
            </a:r>
            <a:br>
              <a:rPr lang="en-US"/>
            </a:br>
            <a:r>
              <a:rPr lang="en-US"/>
              <a:t>Catchy presentation title</a:t>
            </a:r>
            <a:endParaRPr lang="en-US" noProof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785632" y="333375"/>
            <a:ext cx="2963455" cy="2230924"/>
          </a:xfrm>
          <a:solidFill>
            <a:schemeClr val="bg2"/>
          </a:solidFill>
        </p:spPr>
        <p:txBody>
          <a:bodyPr lIns="180000" tIns="180000" rIns="180000" bIns="180000"/>
          <a:lstStyle>
            <a:lvl1pPr marL="0" indent="0" algn="l">
              <a:spcBef>
                <a:spcPts val="0"/>
              </a:spcBef>
              <a:buNone/>
              <a:defRPr sz="16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Placeholder text Date  |  Presenter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42913" y="1484313"/>
            <a:ext cx="8195452" cy="914401"/>
          </a:xfrm>
        </p:spPr>
        <p:txBody>
          <a:bodyPr lIns="180000" tIns="0" rIns="18000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600" b="0" baseline="0">
                <a:solidFill>
                  <a:schemeClr val="bg1"/>
                </a:solidFill>
              </a:defRPr>
            </a:lvl1pPr>
            <a:lvl2pPr marL="180000" indent="0">
              <a:buNone/>
              <a:defRPr>
                <a:solidFill>
                  <a:schemeClr val="bg1"/>
                </a:solidFill>
              </a:defRPr>
            </a:lvl2pPr>
            <a:lvl3pPr marL="360000" indent="0">
              <a:buNone/>
              <a:defRPr>
                <a:solidFill>
                  <a:schemeClr val="bg1"/>
                </a:solidFill>
              </a:defRPr>
            </a:lvl3pPr>
            <a:lvl4pPr marL="540000" indent="0">
              <a:buNone/>
              <a:defRPr>
                <a:solidFill>
                  <a:schemeClr val="bg1"/>
                </a:solidFill>
              </a:defRPr>
            </a:lvl4pPr>
            <a:lvl5pPr marL="720000" indent="0">
              <a:buNone/>
              <a:defRPr>
                <a:solidFill>
                  <a:schemeClr val="bg1"/>
                </a:solidFill>
              </a:defRPr>
            </a:lvl5pPr>
          </a:lstStyle>
          <a:p>
            <a:r>
              <a:rPr lang="en-US"/>
              <a:t>Placeholder text for subline. Move box to correct position or delete.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3" hasCustomPrompt="1"/>
          </p:nvPr>
        </p:nvSpPr>
        <p:spPr>
          <a:xfrm>
            <a:off x="442913" y="2672224"/>
            <a:ext cx="11304000" cy="3169776"/>
          </a:xfrm>
        </p:spPr>
        <p:txBody>
          <a:bodyPr bIns="900000" anchor="ctr"/>
          <a:lstStyle>
            <a:lvl1pPr marL="0" indent="0" algn="ctr">
              <a:spcBef>
                <a:spcPts val="0"/>
              </a:spcBef>
              <a:buNone/>
              <a:defRPr baseline="0"/>
            </a:lvl1pPr>
          </a:lstStyle>
          <a:p>
            <a:r>
              <a:rPr lang="en-US" dirty="0"/>
              <a:t>Click here to insert </a:t>
            </a:r>
            <a:r>
              <a:rPr lang="en-US" noProof="0" dirty="0"/>
              <a:t>visual</a:t>
            </a:r>
            <a:r>
              <a:rPr lang="en-US" dirty="0"/>
              <a:t> </a:t>
            </a:r>
            <a:br>
              <a:rPr lang="en-US" dirty="0"/>
            </a:br>
            <a:r>
              <a:rPr lang="en-US" dirty="0"/>
              <a:t>(full-screen image or extracted)</a:t>
            </a:r>
          </a:p>
        </p:txBody>
      </p:sp>
      <p:sp>
        <p:nvSpPr>
          <p:cNvPr id="9" name="Rechteck 8" hidden="1"/>
          <p:cNvSpPr/>
          <p:nvPr userDrawn="1">
            <p:custDataLst>
              <p:tags r:id="rId2"/>
            </p:custDataLst>
          </p:nvPr>
        </p:nvSpPr>
        <p:spPr>
          <a:xfrm>
            <a:off x="435712" y="326488"/>
            <a:ext cx="11318400" cy="552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180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680">
          <p15:clr>
            <a:srgbClr val="C35EA4"/>
          </p15:clr>
        </p15:guide>
        <p15:guide id="2" orient="horz" pos="210">
          <p15:clr>
            <a:srgbClr val="C35EA4"/>
          </p15:clr>
        </p15:guide>
        <p15:guide id="3" pos="279">
          <p15:clr>
            <a:srgbClr val="C35EA4"/>
          </p15:clr>
        </p15:guide>
        <p15:guide id="4" pos="7401">
          <p15:clr>
            <a:srgbClr val="C35E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-Text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/>
              <a:t>Heading, Arial 24 pt bold, max.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|  Date  |  Presentation title (-&gt;Insert header and footer  – Apply to All, page numbers are generated automatically)</a:t>
            </a:r>
          </a:p>
        </p:txBody>
      </p:sp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435712" y="1095154"/>
            <a:ext cx="11318400" cy="475373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435712" y="5842000"/>
            <a:ext cx="8809321" cy="4371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7581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v="urn:schemas-microsoft-com:vml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pos="279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319">
          <p15:clr>
            <a:srgbClr val="C35EA4"/>
          </p15:clr>
        </p15:guide>
        <p15:guide id="5" orient="horz" pos="3680">
          <p15:clr>
            <a:srgbClr val="C35EA4"/>
          </p15:clr>
        </p15:guide>
        <p15:guide id="6" orient="horz" pos="981">
          <p15:clr>
            <a:srgbClr val="C35EA4"/>
          </p15:clr>
        </p15:guide>
        <p15:guide id="7" pos="3727">
          <p15:clr>
            <a:srgbClr val="C35EA4"/>
          </p15:clr>
        </p15:guide>
        <p15:guide id="8" pos="3953">
          <p15:clr>
            <a:srgbClr val="C35EA4"/>
          </p15:clr>
        </p15:guide>
        <p15:guide id="9" orient="horz" pos="210">
          <p15:clr>
            <a:srgbClr val="C35E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/>
              <a:t>Heading, Arial 24 pt bold, max. 2 lines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|  Date  |  Presentation title (-&gt;Insert header and footer  – Apply to All, page numbers are generated automatically)</a:t>
            </a:r>
          </a:p>
        </p:txBody>
      </p:sp>
      <p:sp>
        <p:nvSpPr>
          <p:cNvPr id="11" name="Rechteck 10" hidden="1"/>
          <p:cNvSpPr/>
          <p:nvPr userDrawn="1">
            <p:custDataLst>
              <p:tags r:id="rId2"/>
            </p:custDataLst>
          </p:nvPr>
        </p:nvSpPr>
        <p:spPr>
          <a:xfrm>
            <a:off x="435712" y="1095154"/>
            <a:ext cx="11318400" cy="475373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435712" y="5842000"/>
            <a:ext cx="8809321" cy="4371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12029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orient="horz" pos="3680">
          <p15:clr>
            <a:srgbClr val="C35EA4"/>
          </p15:clr>
        </p15:guide>
        <p15:guide id="3" orient="horz" pos="2319">
          <p15:clr>
            <a:srgbClr val="C35EA4"/>
          </p15:clr>
        </p15:guide>
        <p15:guide id="4" orient="horz" pos="981">
          <p15:clr>
            <a:srgbClr val="C35EA4"/>
          </p15:clr>
        </p15:guide>
        <p15:guide id="5" orient="horz" pos="210">
          <p15:clr>
            <a:srgbClr val="C35EA4"/>
          </p15:clr>
        </p15:guide>
        <p15:guide id="6" pos="279">
          <p15:clr>
            <a:srgbClr val="C35EA4"/>
          </p15:clr>
        </p15:guide>
        <p15:guide id="7" pos="7401">
          <p15:clr>
            <a:srgbClr val="C35EA4"/>
          </p15:clr>
        </p15:guide>
        <p15:guide id="8" pos="3953">
          <p15:clr>
            <a:srgbClr val="C35EA4"/>
          </p15:clr>
        </p15:guide>
        <p15:guide id="9" pos="3727">
          <p15:clr>
            <a:srgbClr val="C35E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44" imgH="344" progId="TCLayout.ActiveDocument.1">
                  <p:embed/>
                </p:oleObj>
              </mc:Choice>
              <mc:Fallback>
                <p:oleObj name="think-cell Folie" r:id="rId4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/>
          <p:cNvSpPr/>
          <p:nvPr userDrawn="1"/>
        </p:nvSpPr>
        <p:spPr bwMode="white">
          <a:xfrm>
            <a:off x="0" y="1"/>
            <a:ext cx="12192000" cy="5984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solidFill>
                <a:prstClr val="white"/>
              </a:solidFill>
            </a:endParaRP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|  Date  |  Presentation title (-&gt;Insert header and footer  – Apply to All, page numbers are generated automatically)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42913" y="333375"/>
            <a:ext cx="11303999" cy="550862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Visual</a:t>
            </a:r>
          </a:p>
        </p:txBody>
      </p:sp>
      <p:sp>
        <p:nvSpPr>
          <p:cNvPr id="8" name="Rechteck 7" hidden="1"/>
          <p:cNvSpPr/>
          <p:nvPr userDrawn="1">
            <p:custDataLst>
              <p:tags r:id="rId2"/>
            </p:custDataLst>
          </p:nvPr>
        </p:nvSpPr>
        <p:spPr>
          <a:xfrm>
            <a:off x="435712" y="326488"/>
            <a:ext cx="11318400" cy="55224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0421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orient="horz" pos="210">
          <p15:clr>
            <a:srgbClr val="C35EA4"/>
          </p15:clr>
        </p15:guide>
        <p15:guide id="3" pos="7401">
          <p15:clr>
            <a:srgbClr val="C35EA4"/>
          </p15:clr>
        </p15:guide>
        <p15:guide id="4" pos="279">
          <p15:clr>
            <a:srgbClr val="C35EA4"/>
          </p15:clr>
        </p15:guide>
        <p15:guide id="5" orient="horz" pos="3680">
          <p15:clr>
            <a:srgbClr val="C35EA4"/>
          </p15:clr>
        </p15:guide>
        <p15:guide id="6" orient="horz" pos="1956">
          <p15:clr>
            <a:srgbClr val="C35E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-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44" imgH="344" progId="TCLayout.ActiveDocument.1">
                  <p:embed/>
                </p:oleObj>
              </mc:Choice>
              <mc:Fallback>
                <p:oleObj name="think-cell Folie" r:id="rId5" imgW="344" imgH="344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noProof="0"/>
              <a:t>Heading, Arial 24 pt bold, max. 2 lin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marL="360000" indent="-360000">
              <a:lnSpc>
                <a:spcPct val="100000"/>
              </a:lnSpc>
              <a:spcBef>
                <a:spcPts val="2400"/>
              </a:spcBef>
              <a:buFont typeface="+mj-lt"/>
              <a:buAutoNum type="arabicPeriod"/>
              <a:defRPr sz="2000"/>
            </a:lvl1pPr>
            <a:lvl2pPr marL="720000" indent="-270000">
              <a:lnSpc>
                <a:spcPct val="100000"/>
              </a:lnSpc>
              <a:spcBef>
                <a:spcPts val="2400"/>
              </a:spcBef>
              <a:defRPr sz="2000"/>
            </a:lvl2pPr>
            <a:lvl3pPr marL="990600" indent="-270000">
              <a:lnSpc>
                <a:spcPct val="100000"/>
              </a:lnSpc>
              <a:spcBef>
                <a:spcPts val="2400"/>
              </a:spcBef>
              <a:defRPr sz="2000"/>
            </a:lvl3pPr>
            <a:lvl4pPr marL="1260000" indent="-270000">
              <a:lnSpc>
                <a:spcPct val="100000"/>
              </a:lnSpc>
              <a:spcBef>
                <a:spcPts val="2400"/>
              </a:spcBef>
              <a:defRPr sz="2000"/>
            </a:lvl4pPr>
            <a:lvl5pPr marL="1620000" indent="-270000">
              <a:lnSpc>
                <a:spcPct val="100000"/>
              </a:lnSpc>
              <a:spcBef>
                <a:spcPts val="2400"/>
              </a:spcBef>
              <a:defRPr sz="2000"/>
            </a:lvl5pPr>
          </a:lstStyle>
          <a:p>
            <a:pPr lvl="0"/>
            <a:r>
              <a:rPr lang="en-US" noProof="0"/>
              <a:t>Click to edit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10" name="Fußzeilenplatzhalt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|  Date  |  Presentation title (-&gt;Insert header and footer  – Apply to All, page numbers are generated automatically)</a:t>
            </a:r>
          </a:p>
        </p:txBody>
      </p:sp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435712" y="1095154"/>
            <a:ext cx="11318400" cy="475373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435712" y="5842000"/>
            <a:ext cx="8809321" cy="4371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8681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680">
          <p15:clr>
            <a:srgbClr val="C35EA4"/>
          </p15:clr>
        </p15:guide>
        <p15:guide id="2" orient="horz" pos="981">
          <p15:clr>
            <a:srgbClr val="C35EA4"/>
          </p15:clr>
        </p15:guide>
        <p15:guide id="3" orient="horz" pos="210">
          <p15:clr>
            <a:srgbClr val="C35EA4"/>
          </p15:clr>
        </p15:guide>
        <p15:guide id="4" pos="279">
          <p15:clr>
            <a:srgbClr val="C35EA4"/>
          </p15:clr>
        </p15:guide>
        <p15:guide id="5" pos="7401">
          <p15:clr>
            <a:srgbClr val="C35E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messag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769487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6" imgW="344" imgH="344" progId="TCLayout.ActiveDocument.1">
                  <p:embed/>
                </p:oleObj>
              </mc:Choice>
              <mc:Fallback>
                <p:oleObj name="think-cell Folie" r:id="rId6" imgW="344" imgH="344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C19DC139-A46E-4EDA-BEBC-78FCDF2B5B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en-US" sz="2800" b="1" i="0" u="none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A3E4F538-25E6-4128-9670-FCF311B2CF2D}"/>
              </a:ext>
            </a:extLst>
          </p:cNvPr>
          <p:cNvSpPr/>
          <p:nvPr userDrawn="1"/>
        </p:nvSpPr>
        <p:spPr bwMode="white">
          <a:xfrm>
            <a:off x="0" y="1"/>
            <a:ext cx="12192000" cy="59848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noProof="0">
              <a:solidFill>
                <a:prstClr val="white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3681412"/>
            <a:ext cx="3744883" cy="2161973"/>
          </a:xfrm>
          <a:solidFill>
            <a:schemeClr val="accent5"/>
          </a:solidFill>
        </p:spPr>
        <p:txBody>
          <a:bodyPr lIns="180000" tIns="144000" rIns="0" bIns="0"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noProof="0"/>
              <a:t>Click to edit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noProof="0">
              <a:solidFill>
                <a:prstClr val="black"/>
              </a:solidFill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noProof="0">
                <a:solidFill>
                  <a:prstClr val="black"/>
                </a:solidFill>
              </a:rPr>
              <a:t>|  Date  |  Presentation title (-&gt;Insert header and footer  – Apply to All, page numbers are generated automatically)</a:t>
            </a:r>
          </a:p>
        </p:txBody>
      </p:sp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435712" y="1095154"/>
            <a:ext cx="11318400" cy="4753734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3" name="Rechteck 12" hidden="1"/>
          <p:cNvSpPr/>
          <p:nvPr userDrawn="1">
            <p:custDataLst>
              <p:tags r:id="rId4"/>
            </p:custDataLst>
          </p:nvPr>
        </p:nvSpPr>
        <p:spPr>
          <a:xfrm>
            <a:off x="435712" y="5842000"/>
            <a:ext cx="8809321" cy="437175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rtl="0" eaLnBrk="1" fontAlgn="auto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</a:pPr>
            <a:endParaRPr lang="de-DE" sz="1600" b="0" i="0" u="none" baseline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15" name="Bildplatzhalter 10">
            <a:extLst>
              <a:ext uri="{FF2B5EF4-FFF2-40B4-BE49-F238E27FC236}">
                <a16:creationId xmlns:a16="http://schemas.microsoft.com/office/drawing/2014/main" id="{2606861D-02A5-403F-AE29-8A2DD7D797EC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259797" y="333375"/>
            <a:ext cx="7487116" cy="5508625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dirty="0"/>
              <a:t>Visual</a:t>
            </a:r>
          </a:p>
        </p:txBody>
      </p:sp>
      <p:sp>
        <p:nvSpPr>
          <p:cNvPr id="9" name="Textplatzhalter 8">
            <a:extLst>
              <a:ext uri="{FF2B5EF4-FFF2-40B4-BE49-F238E27FC236}">
                <a16:creationId xmlns:a16="http://schemas.microsoft.com/office/drawing/2014/main" id="{0DEE78E6-B7E0-48F0-A76F-504814854EC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333375"/>
            <a:ext cx="3744912" cy="3276600"/>
          </a:xfrm>
          <a:solidFill>
            <a:schemeClr val="accent2"/>
          </a:solidFill>
        </p:spPr>
        <p:txBody>
          <a:bodyPr lIns="180000" tIns="324000" rIns="0" bIns="0"/>
          <a:lstStyle>
            <a:lvl1pPr marL="0" indent="0">
              <a:buNone/>
              <a:defRPr sz="2800" b="1">
                <a:solidFill>
                  <a:schemeClr val="bg1"/>
                </a:solidFill>
              </a:defRPr>
            </a:lvl1pPr>
            <a:lvl2pPr marL="0" indent="0">
              <a:buNone/>
              <a:tabLst/>
              <a:defRPr sz="2800">
                <a:solidFill>
                  <a:schemeClr val="bg1"/>
                </a:solidFill>
              </a:defRPr>
            </a:lvl2pPr>
            <a:lvl3pPr marL="360000" indent="0">
              <a:buNone/>
              <a:defRPr sz="2800">
                <a:solidFill>
                  <a:schemeClr val="bg1"/>
                </a:solidFill>
              </a:defRPr>
            </a:lvl3pPr>
            <a:lvl4pPr marL="540000" indent="0">
              <a:buNone/>
              <a:defRPr sz="2800">
                <a:solidFill>
                  <a:schemeClr val="bg1"/>
                </a:solidFill>
              </a:defRPr>
            </a:lvl4pPr>
            <a:lvl5pPr marL="720000" indent="0">
              <a:buNone/>
              <a:defRPr sz="28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Key message, Arial 28 </a:t>
            </a:r>
            <a:r>
              <a:rPr lang="en-US" dirty="0" err="1"/>
              <a:t>pt</a:t>
            </a:r>
            <a:r>
              <a:rPr lang="en-US" dirty="0"/>
              <a:t> bold</a:t>
            </a:r>
            <a:endParaRPr lang="de-DE" dirty="0"/>
          </a:p>
          <a:p>
            <a:pPr lvl="1"/>
            <a:r>
              <a:rPr lang="de-DE" dirty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23140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C35EA4"/>
          </p15:clr>
        </p15:guide>
        <p15:guide id="2" pos="279">
          <p15:clr>
            <a:srgbClr val="C35EA4"/>
          </p15:clr>
        </p15:guide>
        <p15:guide id="3" pos="7401">
          <p15:clr>
            <a:srgbClr val="C35EA4"/>
          </p15:clr>
        </p15:guide>
        <p15:guide id="4" orient="horz" pos="2319">
          <p15:clr>
            <a:srgbClr val="C35EA4"/>
          </p15:clr>
        </p15:guide>
        <p15:guide id="5" orient="horz" pos="3680">
          <p15:clr>
            <a:srgbClr val="C35EA4"/>
          </p15:clr>
        </p15:guide>
        <p15:guide id="6" orient="horz" pos="981">
          <p15:clr>
            <a:srgbClr val="C35EA4"/>
          </p15:clr>
        </p15:guide>
        <p15:guide id="7" pos="3727">
          <p15:clr>
            <a:srgbClr val="C35EA4"/>
          </p15:clr>
        </p15:guide>
        <p15:guide id="8" pos="3953">
          <p15:clr>
            <a:srgbClr val="C35EA4"/>
          </p15:clr>
        </p15:guide>
        <p15:guide id="9" orient="horz" pos="210">
          <p15:clr>
            <a:srgbClr val="C35E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bin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6" imgW="344" imgH="344" progId="TCLayout.ActiveDocument.1">
                  <p:embed/>
                </p:oleObj>
              </mc:Choice>
              <mc:Fallback>
                <p:oleObj name="think-cell Folie" r:id="rId16" imgW="344" imgH="344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332656"/>
            <a:ext cx="11304000" cy="6840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err="1"/>
              <a:t>Titelmasterformat</a:t>
            </a:r>
            <a:r>
              <a:rPr lang="en-US" noProof="0"/>
              <a:t> </a:t>
            </a:r>
            <a:r>
              <a:rPr lang="en-US" noProof="0" err="1"/>
              <a:t>durch</a:t>
            </a:r>
            <a:r>
              <a:rPr lang="en-US" noProof="0"/>
              <a:t> </a:t>
            </a:r>
            <a:r>
              <a:rPr lang="en-US" noProof="0" err="1"/>
              <a:t>Klicken</a:t>
            </a:r>
            <a:r>
              <a:rPr lang="en-US" noProof="0"/>
              <a:t> </a:t>
            </a:r>
            <a:r>
              <a:rPr lang="en-US" noProof="0" err="1"/>
              <a:t>bearbeiten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557338"/>
            <a:ext cx="11304000" cy="428604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/>
              <a:t>Click to edit</a:t>
            </a:r>
          </a:p>
          <a:p>
            <a:pPr lvl="1"/>
            <a:r>
              <a:rPr lang="en-US" noProof="0"/>
              <a:t>Level 2</a:t>
            </a:r>
          </a:p>
          <a:p>
            <a:pPr lvl="2"/>
            <a:r>
              <a:rPr lang="en-US" noProof="0"/>
              <a:t>Level 3</a:t>
            </a:r>
          </a:p>
          <a:p>
            <a:pPr lvl="3"/>
            <a:r>
              <a:rPr lang="en-US" noProof="0"/>
              <a:t>Level 4</a:t>
            </a:r>
          </a:p>
          <a:p>
            <a:pPr lvl="4"/>
            <a:r>
              <a:rPr lang="en-US" noProof="0"/>
              <a:t>Level 5</a:t>
            </a:r>
          </a:p>
          <a:p>
            <a:pPr lvl="5"/>
            <a:r>
              <a:rPr lang="en-US" noProof="0"/>
              <a:t>Level 6</a:t>
            </a:r>
          </a:p>
          <a:p>
            <a:pPr lvl="6"/>
            <a:r>
              <a:rPr lang="en-US" noProof="0"/>
              <a:t>Level 7</a:t>
            </a:r>
          </a:p>
          <a:p>
            <a:pPr lvl="7"/>
            <a:r>
              <a:rPr lang="en-US" noProof="0"/>
              <a:t>Level 8</a:t>
            </a:r>
          </a:p>
          <a:p>
            <a:pPr lvl="8"/>
            <a:r>
              <a:rPr lang="en-US" noProof="0"/>
              <a:t>Level 9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5400" y="6471927"/>
            <a:ext cx="2743200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800"/>
            </a:lvl1pPr>
          </a:lstStyle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95402" y="6331354"/>
            <a:ext cx="8549631" cy="1231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>
            <a:lvl1pPr>
              <a:defRPr lang="de-DE" sz="800"/>
            </a:lvl1pPr>
          </a:lstStyle>
          <a:p>
            <a:r>
              <a:rPr lang="en-US" noProof="0">
                <a:solidFill>
                  <a:prstClr val="black"/>
                </a:solidFill>
              </a:rPr>
              <a:t>|  Date  |  Presentation title (-&gt;Insert header and footer  – Apply to All, page numbers are generated automatically)</a:t>
            </a:r>
          </a:p>
        </p:txBody>
      </p:sp>
      <p:sp>
        <p:nvSpPr>
          <p:cNvPr id="10" name="Rechteck 9"/>
          <p:cNvSpPr/>
          <p:nvPr/>
        </p:nvSpPr>
        <p:spPr bwMode="invGray">
          <a:xfrm>
            <a:off x="442913" y="1047919"/>
            <a:ext cx="11304000" cy="1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noProof="0">
              <a:solidFill>
                <a:prstClr val="white"/>
              </a:solidFill>
              <a:cs typeface="Arial" panose="020B0604020202020204" pitchFamily="34" charset="0"/>
            </a:endParaRPr>
          </a:p>
        </p:txBody>
      </p:sp>
      <p:sp>
        <p:nvSpPr>
          <p:cNvPr id="27" name="Textfeld 26"/>
          <p:cNvSpPr txBox="1"/>
          <p:nvPr/>
        </p:nvSpPr>
        <p:spPr>
          <a:xfrm>
            <a:off x="442913" y="6331354"/>
            <a:ext cx="309265" cy="123111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>
              <a:defRPr/>
            </a:pPr>
            <a:fld id="{14024BB3-640A-42C7-B78D-F5C774E154A6}" type="slidenum">
              <a:rPr lang="en-US" sz="800" noProof="0">
                <a:solidFill>
                  <a:prstClr val="black"/>
                </a:solidFill>
              </a:rPr>
              <a:pPr>
                <a:defRPr/>
              </a:pPr>
              <a:t>‹N›</a:t>
            </a:fld>
            <a:endParaRPr lang="en-US" sz="800" noProof="0">
              <a:solidFill>
                <a:prstClr val="black"/>
              </a:solidFill>
            </a:endParaRPr>
          </a:p>
        </p:txBody>
      </p:sp>
      <p:pic>
        <p:nvPicPr>
          <p:cNvPr id="8" name="Inhaltsplatzhalter 5" descr="Ein Bild, das Text, ClipArt enthält.&#10;&#10;Automatisch generierte Beschreibung">
            <a:extLst>
              <a:ext uri="{FF2B5EF4-FFF2-40B4-BE49-F238E27FC236}">
                <a16:creationId xmlns:a16="http://schemas.microsoft.com/office/drawing/2014/main" id="{C9EC9B85-308B-ECFD-E4C1-483B172A0DE3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10285253" y="6188532"/>
            <a:ext cx="1468800" cy="380844"/>
          </a:xfrm>
          <a:prstGeom prst="rect">
            <a:avLst/>
          </a:prstGeom>
        </p:spPr>
      </p:pic>
      <p:sp>
        <p:nvSpPr>
          <p:cNvPr id="6" name="empower - DO NOT DELETE!!!" hidden="1"/>
          <p:cNvSpPr/>
          <p:nvPr>
            <p:custDataLst>
              <p:tags r:id="rId1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de-DE" sz="1600" err="1">
              <a:solidFill>
                <a:schemeClr val="tx1"/>
              </a:solidFill>
            </a:endParaRPr>
          </a:p>
        </p:txBody>
      </p:sp>
      <p:sp>
        <p:nvSpPr>
          <p:cNvPr id="32" name="Rechteck 31" hidden="1"/>
          <p:cNvSpPr/>
          <p:nvPr>
            <p:custDataLst>
              <p:tags r:id="rId15"/>
            </p:custDataLst>
          </p:nvPr>
        </p:nvSpPr>
        <p:spPr>
          <a:xfrm>
            <a:off x="9600759" y="5992426"/>
            <a:ext cx="2591241" cy="865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600"/>
              </a:spcAft>
            </a:pPr>
            <a:endParaRPr lang="de-DE" sz="1600" err="1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69864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  <p:sldLayoutId id="2147484248" r:id="rId8"/>
    <p:sldLayoutId id="2147484249" r:id="rId9"/>
    <p:sldLayoutId id="2147484250" r:id="rId10"/>
    <p:sldLayoutId id="214748425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v="urn:schemas-microsoft-com:vml" xmlns:a16="http://schemas.microsoft.com/office/drawing/2014/main" xmlns:p15="http://schemas.microsoft.com/office/powerpoint/2012/main" xmlns="">
      <p:transition spd="med">
        <p:fade/>
      </p:transition>
    </mc:Fallback>
  </mc:AlternateConten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lnSpc>
          <a:spcPct val="100000"/>
        </a:lnSpc>
        <a:spcBef>
          <a:spcPts val="12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438275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619250" indent="-180975" algn="l" defTabSz="914400" rtl="0" eaLnBrk="1" latinLnBrk="0" hangingPunct="1">
        <a:lnSpc>
          <a:spcPct val="100000"/>
        </a:lnSpc>
        <a:spcBef>
          <a:spcPts val="12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Rectangle 2">
            <a:extLst>
              <a:ext uri="{FF2B5EF4-FFF2-40B4-BE49-F238E27FC236}">
                <a16:creationId xmlns:a16="http://schemas.microsoft.com/office/drawing/2014/main" id="{A4F652C3-275D-06B6-89C8-DA2183B5356E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/>
        <p:txBody>
          <a:bodyPr/>
          <a:lstStyle/>
          <a:p>
            <a:r>
              <a:t>Procedura Emergenza Interna (P031) – attivazione piano emergenza esterno (PEE)</a:t>
            </a:r>
            <a:endParaRPr lang="de-DE" altLang="en-US" sz="2300"/>
          </a:p>
        </p:txBody>
      </p:sp>
      <p:sp>
        <p:nvSpPr>
          <p:cNvPr id="15363" name="Rectangle 3">
            <a:extLst>
              <a:ext uri="{FF2B5EF4-FFF2-40B4-BE49-F238E27FC236}">
                <a16:creationId xmlns:a16="http://schemas.microsoft.com/office/drawing/2014/main" id="{97F4AD0A-F110-BBAA-85EC-AE2D89A48089}"/>
              </a:ext>
            </a:extLst>
          </p:cNvPr>
          <p:cNvSpPr>
            <a:spLocks noGrp="1" noChangeArrowheads="1"/>
          </p:cNvSpPr>
          <p:nvPr/>
        </p:nvSpPr>
        <p:spPr>
          <a:xfrm>
            <a:off x="442913" y="1557338"/>
            <a:ext cx="9181643" cy="4286047"/>
          </a:xfrm>
          <a:prstGeom prst="rect">
            <a:avLst/>
          </a:prstGeom>
          <a:noFill/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50000"/>
              </a:spcAft>
              <a:defRPr sz="17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8288" indent="-266700" algn="l" rtl="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+mn-lt"/>
              </a:defRPr>
            </a:lvl2pPr>
            <a:lvl3pPr marL="676275" indent="-228600" algn="l" rtl="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+mn-lt"/>
              </a:defRPr>
            </a:lvl3pPr>
            <a:lvl4pPr marL="1084263" indent="-228600" algn="l" rtl="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+mn-lt"/>
              </a:defRPr>
            </a:lvl4pPr>
            <a:lvl5pPr marL="1492250" indent="-228600" algn="l" rtl="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+mn-lt"/>
              </a:defRPr>
            </a:lvl5pPr>
            <a:lvl6pPr marL="1949450" indent="-228600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+mn-lt"/>
              </a:defRPr>
            </a:lvl6pPr>
            <a:lvl7pPr marL="2406650" indent="-228600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+mn-lt"/>
              </a:defRPr>
            </a:lvl7pPr>
            <a:lvl8pPr marL="2863850" indent="-228600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+mn-lt"/>
              </a:defRPr>
            </a:lvl8pPr>
            <a:lvl9pPr marL="3321050" indent="-228600" algn="l" rtl="0" fontAlgn="base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+mn-lt"/>
              </a:defRPr>
            </a:lvl9pPr>
          </a:lstStyle>
          <a:p>
            <a:pPr eaLnBrk="1" hangingPunct="1"/>
            <a:r>
              <a:rPr lang="it-IT" altLang="de-DE" sz="1500" b="1" dirty="0"/>
              <a:t>L’attivazione della sirena è riservata al Coordinatore dell’Emergenza o al suo sostituto. La sirena viene utilizzata per allertare la popolazione in caso di incidente rilevante </a:t>
            </a:r>
          </a:p>
          <a:p>
            <a:pPr eaLnBrk="1" hangingPunct="1"/>
            <a:endParaRPr lang="it-IT" altLang="de-DE" sz="1500" b="1" dirty="0"/>
          </a:p>
          <a:p>
            <a:pPr eaLnBrk="1" hangingPunct="1"/>
            <a:r>
              <a:rPr lang="it-IT" altLang="de-DE" sz="1500" b="1" dirty="0"/>
              <a:t>Le ipotesi di incidente rilevante sono le seguenti:</a:t>
            </a:r>
          </a:p>
          <a:p>
            <a:pPr marL="285750" indent="-285750" eaLnBrk="1" hangingPunct="1">
              <a:buFont typeface="Wingdings" panose="05000000000000000000" pitchFamily="2" charset="2"/>
              <a:buChar char="§"/>
            </a:pPr>
            <a:r>
              <a:rPr lang="it-IT" altLang="de-DE" sz="1500" b="1" dirty="0"/>
              <a:t>Rilascio di sostanze pericolose (metanolo, DMAPA, alcool etilico, solventi infiammabili, sostanze eco tossiche)</a:t>
            </a:r>
          </a:p>
          <a:p>
            <a:pPr marL="285750" indent="-285750" eaLnBrk="1" hangingPunct="1">
              <a:buFont typeface="Wingdings" panose="05000000000000000000" pitchFamily="2" charset="2"/>
              <a:buChar char="§"/>
            </a:pPr>
            <a:r>
              <a:rPr lang="it-IT" altLang="de-DE" sz="1500" b="1" dirty="0"/>
              <a:t>Incendio (metanolo, DMAPA, alcool etilico, solventi infiammabili)</a:t>
            </a:r>
          </a:p>
          <a:p>
            <a:pPr eaLnBrk="1" hangingPunct="1"/>
            <a:r>
              <a:rPr lang="it-IT" altLang="de-DE" sz="1500" b="1" dirty="0"/>
              <a:t>Gli scenari incidentali rilevanti con impatto all’esterno dello stabilimento attengono alle seguenti fattispecie:</a:t>
            </a:r>
          </a:p>
          <a:p>
            <a:pPr marL="285750" indent="-285750" eaLnBrk="1" hangingPunct="1">
              <a:buFont typeface="Wingdings" panose="05000000000000000000" pitchFamily="2" charset="2"/>
              <a:buChar char="§"/>
            </a:pPr>
            <a:r>
              <a:rPr lang="it-IT" altLang="de-DE" sz="1500" b="1" dirty="0"/>
              <a:t>Incendio da pozza (pool </a:t>
            </a:r>
            <a:r>
              <a:rPr lang="it-IT" altLang="de-DE" sz="1500" b="1" dirty="0" err="1"/>
              <a:t>fire</a:t>
            </a:r>
            <a:r>
              <a:rPr lang="it-IT" altLang="de-DE" sz="1500" b="1" dirty="0"/>
              <a:t>)</a:t>
            </a:r>
          </a:p>
          <a:p>
            <a:pPr marL="285750" indent="-285750" eaLnBrk="1" hangingPunct="1">
              <a:buFont typeface="Wingdings" panose="05000000000000000000" pitchFamily="2" charset="2"/>
              <a:buChar char="§"/>
            </a:pPr>
            <a:r>
              <a:rPr lang="it-IT" altLang="de-DE" sz="1500" b="1" dirty="0"/>
              <a:t>Evaporazione da pozza (con dispersione da metanolo)</a:t>
            </a:r>
          </a:p>
        </p:txBody>
      </p:sp>
      <p:sp>
        <p:nvSpPr>
          <p:cNvPr id="15364" name="Text Box 4">
            <a:extLst>
              <a:ext uri="{FF2B5EF4-FFF2-40B4-BE49-F238E27FC236}">
                <a16:creationId xmlns:a16="http://schemas.microsoft.com/office/drawing/2014/main" id="{36512A5F-4E0D-E6CE-ED9D-A654313387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992313" y="1628776"/>
            <a:ext cx="4895850" cy="3667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Aft>
                <a:spcPct val="50000"/>
              </a:spcAft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50000"/>
              </a:spcAft>
              <a:buChar char="•"/>
              <a:defRPr sz="17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50000"/>
              </a:spcBef>
              <a:spcAft>
                <a:spcPct val="0"/>
              </a:spcAft>
            </a:pPr>
            <a:endParaRPr lang="it-IT" altLang="en-US" sz="1800"/>
          </a:p>
        </p:txBody>
      </p:sp>
      <p:pic>
        <p:nvPicPr>
          <p:cNvPr id="15365" name="Picture 5" descr="seo_2_sev no">
            <a:extLst>
              <a:ext uri="{FF2B5EF4-FFF2-40B4-BE49-F238E27FC236}">
                <a16:creationId xmlns:a16="http://schemas.microsoft.com/office/drawing/2014/main" id="{3B75E338-A7BC-D204-06CB-A9405C054D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62992" y="1892369"/>
            <a:ext cx="1037566" cy="13061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5366" name="Object 6">
            <a:hlinkClick r:id="" action="ppaction://noaction"/>
            <a:extLst>
              <a:ext uri="{FF2B5EF4-FFF2-40B4-BE49-F238E27FC236}">
                <a16:creationId xmlns:a16="http://schemas.microsoft.com/office/drawing/2014/main" id="{965B126B-3FAE-ACA6-2BE0-D0CC78219CD7}"/>
              </a:ext>
            </a:extLst>
          </p:cNvPr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2540509927"/>
              </p:ext>
            </p:extLst>
          </p:nvPr>
        </p:nvGraphicFramePr>
        <p:xfrm>
          <a:off x="10553700" y="4043363"/>
          <a:ext cx="730250" cy="666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Oggetto shell Packager" showAsIcon="1" r:id="rId4" imgW="322560" imgH="295920" progId="Package">
                  <p:embed/>
                </p:oleObj>
              </mc:Choice>
              <mc:Fallback>
                <p:oleObj name="Oggetto shell Packager" showAsIcon="1" r:id="rId4" imgW="322560" imgH="295920" progId="Package">
                  <p:embed/>
                  <p:pic>
                    <p:nvPicPr>
                      <p:cNvPr id="15366" name="Object 6">
                        <a:hlinkClick r:id="" action="ppaction://noaction"/>
                        <a:extLst>
                          <a:ext uri="{FF2B5EF4-FFF2-40B4-BE49-F238E27FC236}">
                            <a16:creationId xmlns:a16="http://schemas.microsoft.com/office/drawing/2014/main" id="{965B126B-3FAE-ACA6-2BE0-D0CC78219CD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0553700" y="4043363"/>
                        <a:ext cx="730250" cy="666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Freccia a destra 1">
            <a:extLst>
              <a:ext uri="{FF2B5EF4-FFF2-40B4-BE49-F238E27FC236}">
                <a16:creationId xmlns:a16="http://schemas.microsoft.com/office/drawing/2014/main" id="{AD67D381-3A74-2D5F-A579-75A13BB10D30}"/>
              </a:ext>
            </a:extLst>
          </p:cNvPr>
          <p:cNvSpPr/>
          <p:nvPr/>
        </p:nvSpPr>
        <p:spPr bwMode="auto">
          <a:xfrm rot="19117080">
            <a:off x="10202822" y="4704946"/>
            <a:ext cx="520339" cy="149801"/>
          </a:xfrm>
          <a:prstGeom prst="rightArrow">
            <a:avLst/>
          </a:prstGeom>
          <a:solidFill>
            <a:schemeClr val="accent2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 eaLnBrk="1" hangingPunct="1"/>
            <a:endParaRPr lang="it-IT">
              <a:latin typeface="Arial" charset="0"/>
            </a:endParaRPr>
          </a:p>
        </p:txBody>
      </p: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F62C5FCA-0341-DEAA-D466-08C7389870D3}"/>
              </a:ext>
            </a:extLst>
          </p:cNvPr>
          <p:cNvSpPr txBox="1"/>
          <p:nvPr/>
        </p:nvSpPr>
        <p:spPr>
          <a:xfrm>
            <a:off x="8341346" y="4973796"/>
            <a:ext cx="256642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200" dirty="0"/>
              <a:t>Cliccare 2 volte sull’immagine</a:t>
            </a:r>
          </a:p>
        </p:txBody>
      </p:sp>
    </p:spTree>
  </p:cSld>
  <p:clrMapOvr>
    <a:masterClrMapping/>
  </p:clrMapOvr>
  <p:transition>
    <p:wipe dir="r"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A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wAAAAAAAAAEAAAACQAAAF9pZD0kLl9pZAEDAAAAAAADAAAAAQADAAAAIwAAAENvbWJpSW5kZXg9JC5OYW1lICsgJ18nICsgJC5WZXJzaW9uAQUAAAAAAAUAAAABAAU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BAIBAQEBAQEBAQEBAQEBAQMAAAAAAAAAAwAAAAMAAAAA/////wUA2gsAAAAAAAAAAAAAIAD///////////////8AAAD///////////////8DAAAAAgD///////8DAAAAAgD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Q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EAP///////wUAAAACABAACws2uSv8HI5KlgzEetEX2i4EAAAAAAADAAAAAAADAAAAAwADAAAAAAADAAAAAwADAAAAAAADAAAAAwADAAAAAAD///////8DAAMA////////BQAAAAMAEAAL3PZX2j27VUe6gTy8f4Gq+wQAAAABAAMAAAACAAMAAAAEAAMAAAACAP///////wMAAAACAP///////wQAAQD///////8FAAAABAAQAAufVo/vi9jjTL1p7AViEQnNBAAAAAIAAwAAAAMAAwAAAAE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EAAAAAP////8DAAMOAAAAAAAAAAAAAP////+DAIMAAAAFX2lkABAAAAAECza5K/wcjkqWDMR60RfaLgNEYXRhABsAAAAETGlua2VkU2hhcGVEYXRhAAUAAAAAAAJOYW1lABkAAABMaW5rZWRTaGFwZXNEYXRhUHJvcGVydHkAEFZlcnNpb24AAAAAAAlMYXN0V3JpdGUA+T2NnpIBAAAAAQD/////gwCDAAAABV9pZAAQAAAABNz2V9o9u1VHuoE8vH+BqvsDRGF0YQAbAAAABExpbmtlZFNoYXBlRGF0YQAFAAAAAAACTmFtZQAZAAAATGlua2VkU2hhcGVzRGF0YVByb3BlcnR5ABBWZXJzaW9uAAEAAAAJTGFzdFdyaXRlABg+jZ6SAQAAAAIA/////8YAxgAAAAVfaWQAEAAAAASfVo/vi9jjTL1p7AViEQnNA0RhdGEAUwAAAAhQcmVzZW50YXRpb25TY2FubmVkRm9yTGlua2VkU2hhcGVzAAACTnVtYmVyRm9ybWF0U2VwYXJhdG9yTW9kZQAKAAAAQXV0b21hdGljAAACTmFtZQAkAAAATGlua2VkU2hhcGVQcmVzZW50YXRpb25TZXR0aW5nc0RhdGEAEFZlcnNpb24AAAAAAAlMYXN0V3JpdGUAGz6NnpI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AwAAAAD/////BQDhCwAAAAAAAAAAAAAgAf///////////////wAAAP///////////////wUAAAAEAP///////wUAAAAD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EAIAH///////////////8AAA7///////8F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CAAEBAwAAAAIA////////GgAGTGlua2VkU2hhcGVzRGF0YVByb3BlcnR5XzAEAAAAAAAFAAAABAAFAAAAAwADAAIBAwAAAAMA////////GgAGTGlua2VkU2hhcGVzRGF0YVByb3BlcnR5XzEEAAAAAQAFAAAAAgAFAAAAAQAFAAAAAAD///////8EAAEBAwAAAAQA////////JQAGTGlua2VkU2hhcGVQcmVzZW50YXRpb25TZXR0aW5nc0RhdGFfMAQAAAACAAUAAAAAAAU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A"/>
  <p:tag name="EMPOWERCHARTSPROPERTIES_LASTWRITEDATE" val="638648337096397265"/>
  <p:tag name="EMPOWERCHARTSPROPERTIES_A_LENGTH" val="24576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SWPl_Wq.i8W5rFfJLVz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akaW5q8RZS6RjnH6ob.A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MST_COLOR_1" val="0,0,0,Dunkel 1"/>
  <p:tag name="MIO_MST_COLOR_2" val="255,255,255,Hell 1"/>
  <p:tag name="MIO_MST_COLOR_3" val="171,165,160,Dunkel 2"/>
  <p:tag name="MIO_MST_COLOR_4" val="230,229,227,Hell 2"/>
  <p:tag name="MIO_MST_COLOR_5" val="192,188,184,Akzent 1"/>
  <p:tag name="MIO_MST_COLOR_6" val="153,29,133,Akzent 2"/>
  <p:tag name="MIO_MST_COLOR_7" val="150,143,136,Akzent 3"/>
  <p:tag name="MIO_MST_COLOR_8" val="194,119,182,Akzent 4"/>
  <p:tag name="MIO_MST_COLOR_9" val="214,211,208,Akzent 5"/>
  <p:tag name="MIO_MST_COLOR_10" val="214,165,206,Akzent 6"/>
  <p:tag name="MIO_MST_COLOR_11" val="173,74,157,"/>
  <p:tag name="MIO_MST_COLOR_12" val="150,143,136,"/>
  <p:tag name="MIO_EK" val="3465"/>
  <p:tag name="MIO_PRESI_FIRST_SLIDENUMBER" val="1"/>
  <p:tag name="MIO_FALLBACK_LAYOUT" val="5"/>
  <p:tag name="MIO_SHOW_DATE" val="False"/>
  <p:tag name="MIO_SHOW_FOOTER" val="True"/>
  <p:tag name="MIO_SHOW_PAGENUMBER" val="False"/>
  <p:tag name="MIO_AVOID_BLANK_LAYOUT" val="True"/>
  <p:tag name="MIO_CD_LAYOUT_VALID_AREA" val="True"/>
  <p:tag name="MIO_EMBED_FONT" val="False"/>
  <p:tag name="MIO_MATCH_COLOR_SCHEME" val="False"/>
  <p:tag name="MIO_NUMBER_OF_VALID_LAYOUTS" val="11"/>
  <p:tag name="MIO_HDS" val="True"/>
  <p:tag name="MIO_SKIPVERSION" val="01.01.0001 00:00:00"/>
  <p:tag name="MIO_EKGUID" val="b747901f-082c-42d8-8534-f6b9d6cda84e"/>
  <p:tag name="MIO_UPDATE" val="True"/>
  <p:tag name="MIO_DBID" val="76B887B1-F9F7-4AC7-ABD8-E3D499AA1F6D"/>
  <p:tag name="MIO_OBJECTNAME" val="Master 16:9"/>
  <p:tag name="MIO_LASTEDITORNAME" val="Admin 2"/>
  <p:tag name="MIO_VERSION" val="21.03.2023 12:40:00"/>
  <p:tag name="MIO_LASTDOWNLOADED" val="18.10.2024 09:42:46.585"/>
  <p:tag name="MIO_CONTENTTAG" val="wIK5rnkQykSP2Dq+NE/K06ALD1DJeMFMjp+rg8g2z0g="/>
  <p:tag name="MIO_CDID" val="73d2452d-b8af-42e2-9aa4-3983a84ce67c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AYOUT_VALID_AREA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vonik">
  <a:themeElements>
    <a:clrScheme name="Evonik">
      <a:dk1>
        <a:sysClr val="windowText" lastClr="000000"/>
      </a:dk1>
      <a:lt1>
        <a:sysClr val="window" lastClr="FFFFFF"/>
      </a:lt1>
      <a:dk2>
        <a:srgbClr val="ABA5A0"/>
      </a:dk2>
      <a:lt2>
        <a:srgbClr val="E6E5E3"/>
      </a:lt2>
      <a:accent1>
        <a:srgbClr val="C0BCB8"/>
      </a:accent1>
      <a:accent2>
        <a:srgbClr val="991D85"/>
      </a:accent2>
      <a:accent3>
        <a:srgbClr val="796E65"/>
      </a:accent3>
      <a:accent4>
        <a:srgbClr val="C277B6"/>
      </a:accent4>
      <a:accent5>
        <a:srgbClr val="D6D3D0"/>
      </a:accent5>
      <a:accent6>
        <a:srgbClr val="D6A5CE"/>
      </a:accent6>
      <a:hlink>
        <a:srgbClr val="AD4A9D"/>
      </a:hlink>
      <a:folHlink>
        <a:srgbClr val="968F8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Tema di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 rtl="0" eaLnBrk="1" fontAlgn="auto" hangingPunct="1">
          <a:lnSpc>
            <a:spcPct val="100000"/>
          </a:lnSpc>
          <a:spcBef>
            <a:spcPts val="0"/>
          </a:spcBef>
          <a:spcAft>
            <a:spcPts val="600"/>
          </a:spcAft>
          <a:defRPr sz="1600" b="0" i="0" u="none" baseline="0" dirty="0">
            <a:solidFill>
              <a:srgbClr val="000000"/>
            </a:solidFill>
            <a:latin typeface="Arial" panose="020B060402020202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 cap="rnd">
          <a:solidFill>
            <a:schemeClr val="tx1"/>
          </a:solidFill>
          <a:round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horz" wrap="square" lIns="0" tIns="0" rIns="0" bIns="0" rtlCol="0">
        <a:spAutoFit/>
      </a:bodyPr>
      <a:lstStyle>
        <a:defPPr algn="l" rtl="0" eaLnBrk="1" fontAlgn="auto" hangingPunct="1">
          <a:lnSpc>
            <a:spcPct val="100000"/>
          </a:lnSpc>
          <a:spcBef>
            <a:spcPts val="0"/>
          </a:spcBef>
          <a:spcAft>
            <a:spcPts val="600"/>
          </a:spcAft>
          <a:defRPr sz="1600" b="0" i="0" u="none" baseline="0" dirty="0">
            <a:solidFill>
              <a:srgbClr val="000000"/>
            </a:solidFill>
            <a:latin typeface="Arial" panose="020B0604020202020204" pitchFamily="34" charset="0"/>
          </a:defRPr>
        </a:defPPr>
      </a:lstStyle>
    </a:txDef>
  </a:objectDefaults>
  <a:extraClrSchemeLst/>
  <a:custClrLst>
    <a:custClr name="Deep Purple">
      <a:srgbClr val="991D85"/>
    </a:custClr>
    <a:custClr name="Warm Gray light">
      <a:srgbClr val="E6E5E3"/>
    </a:custClr>
    <a:custClr name="Warm Gray middle">
      <a:srgbClr val="D6D3D0"/>
    </a:custClr>
    <a:custClr name="Warm Gray dark">
      <a:srgbClr val="C0BCB8"/>
    </a:custClr>
    <a:custClr name="Green 100%">
      <a:srgbClr val="78BE20"/>
    </a:custClr>
    <a:custClr name="Petrol 100%">
      <a:srgbClr val="008C95"/>
    </a:custClr>
    <a:custClr name="Orange 100%">
      <a:srgbClr val="DC6B2F"/>
    </a:custClr>
    <a:custClr name="Yellow 100%">
      <a:srgbClr val="FFD100"/>
    </a:custClr>
    <a:custClr name="Blue 100%">
      <a:srgbClr val="0067A0"/>
    </a:custClr>
    <a:custClr name="Red 100%">
      <a:srgbClr val="9B2743"/>
    </a:custClr>
  </a:custClrLst>
  <a:extLst>
    <a:ext uri="{05A4C25C-085E-4340-85A3-A5531E510DB2}">
      <thm15:themeFamily xmlns:thm15="http://schemas.microsoft.com/office/thememl/2012/main" name="Präsentation4" id="{F84D84B3-22B6-4AF2-AEE6-1CB8C13E92C3}" vid="{E70CA1F0-B68A-4252-A193-730CBA93DB17}"/>
    </a:ext>
  </a:extLst>
</a:theme>
</file>

<file path=ppt/theme/theme2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BBB3AD"/>
      </a:dk2>
      <a:lt2>
        <a:srgbClr val="D6D1CE"/>
      </a:lt2>
      <a:accent1>
        <a:srgbClr val="D6D3D0"/>
      </a:accent1>
      <a:accent2>
        <a:srgbClr val="991D85"/>
      </a:accent2>
      <a:accent3>
        <a:srgbClr val="FFFFFF"/>
      </a:accent3>
      <a:accent4>
        <a:srgbClr val="000000"/>
      </a:accent4>
      <a:accent5>
        <a:srgbClr val="E8E6E4"/>
      </a:accent5>
      <a:accent6>
        <a:srgbClr val="8A1978"/>
      </a:accent6>
      <a:hlink>
        <a:srgbClr val="968F88"/>
      </a:hlink>
      <a:folHlink>
        <a:srgbClr val="C277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i Office">
  <a:themeElements>
    <a:clrScheme name="">
      <a:dk1>
        <a:srgbClr val="000000"/>
      </a:dk1>
      <a:lt1>
        <a:srgbClr val="FFFFFF"/>
      </a:lt1>
      <a:dk2>
        <a:srgbClr val="BBB3AD"/>
      </a:dk2>
      <a:lt2>
        <a:srgbClr val="D6D1CE"/>
      </a:lt2>
      <a:accent1>
        <a:srgbClr val="D6D3D0"/>
      </a:accent1>
      <a:accent2>
        <a:srgbClr val="991D85"/>
      </a:accent2>
      <a:accent3>
        <a:srgbClr val="FFFFFF"/>
      </a:accent3>
      <a:accent4>
        <a:srgbClr val="000000"/>
      </a:accent4>
      <a:accent5>
        <a:srgbClr val="E8E6E4"/>
      </a:accent5>
      <a:accent6>
        <a:srgbClr val="8A1978"/>
      </a:accent6>
      <a:hlink>
        <a:srgbClr val="968F88"/>
      </a:hlink>
      <a:folHlink>
        <a:srgbClr val="C277B6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Evonik Master Presentation</Template>
  <TotalTime>0</TotalTime>
  <Words>211</Words>
  <Application>Microsoft Office PowerPoint</Application>
  <PresentationFormat>Personalizzato</PresentationFormat>
  <Paragraphs>28</Paragraphs>
  <Slides>1</Slides>
  <Notes>1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2</vt:i4>
      </vt:variant>
      <vt:variant>
        <vt:lpstr>Titoli diapositive</vt:lpstr>
      </vt:variant>
      <vt:variant>
        <vt:i4>1</vt:i4>
      </vt:variant>
    </vt:vector>
  </HeadingPairs>
  <TitlesOfParts>
    <vt:vector size="7" baseType="lpstr">
      <vt:lpstr>Arial</vt:lpstr>
      <vt:lpstr>Symbol</vt:lpstr>
      <vt:lpstr>Wingdings</vt:lpstr>
      <vt:lpstr>Evonik</vt:lpstr>
      <vt:lpstr>think-cell Folie</vt:lpstr>
      <vt:lpstr>Pacchetto</vt:lpstr>
      <vt:lpstr>Procedura Emergenza Interna (P031) – attivazione piano emergenza esterno (PEE)</vt:lpstr>
    </vt:vector>
  </TitlesOfParts>
  <Company>Degussa Goldschmidt Italia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Karum nescioquid lubet iocari.</dc:title>
  <dc:creator>aquilinor</dc:creator>
  <cp:lastModifiedBy>Belli, Rosalba</cp:lastModifiedBy>
  <cp:revision>83</cp:revision>
  <dcterms:created xsi:type="dcterms:W3CDTF">2007-11-29T11:27:58Z</dcterms:created>
  <dcterms:modified xsi:type="dcterms:W3CDTF">2024-10-18T07:45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29871acb-3e8e-4cf1-928b-53cb657a6025_Enabled">
    <vt:lpwstr>true</vt:lpwstr>
  </property>
  <property fmtid="{D5CDD505-2E9C-101B-9397-08002B2CF9AE}" pid="3" name="MSIP_Label_29871acb-3e8e-4cf1-928b-53cb657a6025_SetDate">
    <vt:lpwstr>2024-09-30T13:32:55Z</vt:lpwstr>
  </property>
  <property fmtid="{D5CDD505-2E9C-101B-9397-08002B2CF9AE}" pid="4" name="MSIP_Label_29871acb-3e8e-4cf1-928b-53cb657a6025_Method">
    <vt:lpwstr>Privileged</vt:lpwstr>
  </property>
  <property fmtid="{D5CDD505-2E9C-101B-9397-08002B2CF9AE}" pid="5" name="MSIP_Label_29871acb-3e8e-4cf1-928b-53cb657a6025_Name">
    <vt:lpwstr>29871acb-3e8e-4cf1-928b-53cb657a6025</vt:lpwstr>
  </property>
  <property fmtid="{D5CDD505-2E9C-101B-9397-08002B2CF9AE}" pid="6" name="MSIP_Label_29871acb-3e8e-4cf1-928b-53cb657a6025_SiteId">
    <vt:lpwstr>acf01cd9-ddd4-4522-a2c3-ebcadef31fbb</vt:lpwstr>
  </property>
  <property fmtid="{D5CDD505-2E9C-101B-9397-08002B2CF9AE}" pid="7" name="MSIP_Label_29871acb-3e8e-4cf1-928b-53cb657a6025_ActionId">
    <vt:lpwstr>da953185-c535-4b06-bf86-b89d6d617c7c</vt:lpwstr>
  </property>
  <property fmtid="{D5CDD505-2E9C-101B-9397-08002B2CF9AE}" pid="8" name="MSIP_Label_29871acb-3e8e-4cf1-928b-53cb657a6025_ContentBits">
    <vt:lpwstr>0</vt:lpwstr>
  </property>
</Properties>
</file>